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140753831" r:id="rId2"/>
    <p:sldId id="264" r:id="rId3"/>
    <p:sldId id="263" r:id="rId4"/>
    <p:sldId id="266" r:id="rId5"/>
    <p:sldId id="267" r:id="rId6"/>
    <p:sldId id="268" r:id="rId7"/>
    <p:sldId id="265" r:id="rId8"/>
    <p:sldId id="2140753833" r:id="rId9"/>
    <p:sldId id="2140753834" r:id="rId10"/>
    <p:sldId id="2140753836" r:id="rId11"/>
    <p:sldId id="2140753835" r:id="rId12"/>
  </p:sldIdLst>
  <p:sldSz cx="12192000" cy="6858000"/>
  <p:notesSz cx="6858000" cy="9144000"/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486BC2E-AB3F-41F6-B9C7-A234D4F1C0A6}" v="3" dt="2022-06-03T17:14:44.87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68" d="100"/>
          <a:sy n="68" d="100"/>
        </p:scale>
        <p:origin x="73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customXml" Target="../customXml/item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20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customXml" Target="../customXml/item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edraza, Francisco Nicolay /CO" userId="93cdeeef-c4f6-482e-a168-eaf4bf6d5922" providerId="ADAL" clId="{3486BC2E-AB3F-41F6-B9C7-A234D4F1C0A6}"/>
    <pc:docChg chg="addSld delSld modSld">
      <pc:chgData name="Pedraza, Francisco Nicolay /CO" userId="93cdeeef-c4f6-482e-a168-eaf4bf6d5922" providerId="ADAL" clId="{3486BC2E-AB3F-41F6-B9C7-A234D4F1C0A6}" dt="2022-06-03T17:14:44.861" v="2"/>
      <pc:docMkLst>
        <pc:docMk/>
      </pc:docMkLst>
      <pc:sldChg chg="add del">
        <pc:chgData name="Pedraza, Francisco Nicolay /CO" userId="93cdeeef-c4f6-482e-a168-eaf4bf6d5922" providerId="ADAL" clId="{3486BC2E-AB3F-41F6-B9C7-A234D4F1C0A6}" dt="2022-06-03T17:14:34.812" v="1"/>
        <pc:sldMkLst>
          <pc:docMk/>
          <pc:sldMk cId="3910859776" sldId="2140753832"/>
        </pc:sldMkLst>
      </pc:sldChg>
      <pc:sldChg chg="add setBg">
        <pc:chgData name="Pedraza, Francisco Nicolay /CO" userId="93cdeeef-c4f6-482e-a168-eaf4bf6d5922" providerId="ADAL" clId="{3486BC2E-AB3F-41F6-B9C7-A234D4F1C0A6}" dt="2022-06-03T17:14:44.861" v="2"/>
        <pc:sldMkLst>
          <pc:docMk/>
          <pc:sldMk cId="3608823269" sldId="2140753833"/>
        </pc:sldMkLst>
      </pc:sldChg>
      <pc:sldChg chg="add del">
        <pc:chgData name="Pedraza, Francisco Nicolay /CO" userId="93cdeeef-c4f6-482e-a168-eaf4bf6d5922" providerId="ADAL" clId="{3486BC2E-AB3F-41F6-B9C7-A234D4F1C0A6}" dt="2022-06-03T17:14:34.812" v="1"/>
        <pc:sldMkLst>
          <pc:docMk/>
          <pc:sldMk cId="3735077947" sldId="2140753833"/>
        </pc:sldMkLst>
      </pc:sldChg>
      <pc:sldChg chg="add">
        <pc:chgData name="Pedraza, Francisco Nicolay /CO" userId="93cdeeef-c4f6-482e-a168-eaf4bf6d5922" providerId="ADAL" clId="{3486BC2E-AB3F-41F6-B9C7-A234D4F1C0A6}" dt="2022-06-03T17:14:44.861" v="2"/>
        <pc:sldMkLst>
          <pc:docMk/>
          <pc:sldMk cId="695084552" sldId="2140753834"/>
        </pc:sldMkLst>
      </pc:sldChg>
      <pc:sldChg chg="add del">
        <pc:chgData name="Pedraza, Francisco Nicolay /CO" userId="93cdeeef-c4f6-482e-a168-eaf4bf6d5922" providerId="ADAL" clId="{3486BC2E-AB3F-41F6-B9C7-A234D4F1C0A6}" dt="2022-06-03T17:14:34.812" v="1"/>
        <pc:sldMkLst>
          <pc:docMk/>
          <pc:sldMk cId="1412728306" sldId="2140753834"/>
        </pc:sldMkLst>
      </pc:sldChg>
      <pc:sldChg chg="add">
        <pc:chgData name="Pedraza, Francisco Nicolay /CO" userId="93cdeeef-c4f6-482e-a168-eaf4bf6d5922" providerId="ADAL" clId="{3486BC2E-AB3F-41F6-B9C7-A234D4F1C0A6}" dt="2022-06-03T17:14:44.861" v="2"/>
        <pc:sldMkLst>
          <pc:docMk/>
          <pc:sldMk cId="922868710" sldId="2140753835"/>
        </pc:sldMkLst>
      </pc:sldChg>
      <pc:sldChg chg="add del">
        <pc:chgData name="Pedraza, Francisco Nicolay /CO" userId="93cdeeef-c4f6-482e-a168-eaf4bf6d5922" providerId="ADAL" clId="{3486BC2E-AB3F-41F6-B9C7-A234D4F1C0A6}" dt="2022-06-03T17:14:34.812" v="1"/>
        <pc:sldMkLst>
          <pc:docMk/>
          <pc:sldMk cId="3746421682" sldId="2140753835"/>
        </pc:sldMkLst>
      </pc:sldChg>
      <pc:sldChg chg="add del">
        <pc:chgData name="Pedraza, Francisco Nicolay /CO" userId="93cdeeef-c4f6-482e-a168-eaf4bf6d5922" providerId="ADAL" clId="{3486BC2E-AB3F-41F6-B9C7-A234D4F1C0A6}" dt="2022-06-03T17:14:34.812" v="1"/>
        <pc:sldMkLst>
          <pc:docMk/>
          <pc:sldMk cId="1890095668" sldId="2140753836"/>
        </pc:sldMkLst>
      </pc:sldChg>
      <pc:sldChg chg="add">
        <pc:chgData name="Pedraza, Francisco Nicolay /CO" userId="93cdeeef-c4f6-482e-a168-eaf4bf6d5922" providerId="ADAL" clId="{3486BC2E-AB3F-41F6-B9C7-A234D4F1C0A6}" dt="2022-06-03T17:14:44.861" v="2"/>
        <pc:sldMkLst>
          <pc:docMk/>
          <pc:sldMk cId="3552483792" sldId="2140753836"/>
        </pc:sldMkLst>
      </pc:sldChg>
      <pc:sldChg chg="add del">
        <pc:chgData name="Pedraza, Francisco Nicolay /CO" userId="93cdeeef-c4f6-482e-a168-eaf4bf6d5922" providerId="ADAL" clId="{3486BC2E-AB3F-41F6-B9C7-A234D4F1C0A6}" dt="2022-06-03T17:14:34.812" v="1"/>
        <pc:sldMkLst>
          <pc:docMk/>
          <pc:sldMk cId="1412018012" sldId="2140753837"/>
        </pc:sldMkLst>
      </pc:sldChg>
      <pc:sldChg chg="add del">
        <pc:chgData name="Pedraza, Francisco Nicolay /CO" userId="93cdeeef-c4f6-482e-a168-eaf4bf6d5922" providerId="ADAL" clId="{3486BC2E-AB3F-41F6-B9C7-A234D4F1C0A6}" dt="2022-06-03T17:14:34.812" v="1"/>
        <pc:sldMkLst>
          <pc:docMk/>
          <pc:sldMk cId="399641198" sldId="2140753838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64EFB9E-9ED6-4B21-9CA7-9C1CC31F5932}" type="doc">
      <dgm:prSet loTypeId="urn:microsoft.com/office/officeart/2008/layout/AscendingPictureAccent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9998263-E594-48B2-8860-7B43DAE61C26}">
      <dgm:prSet phldrT="[Texto]"/>
      <dgm:spPr>
        <a:noFill/>
        <a:ln>
          <a:noFill/>
        </a:ln>
      </dgm:spPr>
      <dgm:t>
        <a:bodyPr/>
        <a:lstStyle/>
        <a:p>
          <a:endParaRPr lang="en-US" dirty="0"/>
        </a:p>
      </dgm:t>
    </dgm:pt>
    <dgm:pt modelId="{0F857DAF-79D3-44BA-9E5C-6C96AF1CC2A7}" type="parTrans" cxnId="{347AB206-7C94-4B19-ACB6-E075D3F15705}">
      <dgm:prSet/>
      <dgm:spPr/>
      <dgm:t>
        <a:bodyPr/>
        <a:lstStyle/>
        <a:p>
          <a:endParaRPr lang="en-US"/>
        </a:p>
      </dgm:t>
    </dgm:pt>
    <dgm:pt modelId="{E8A9B0C4-6BBF-4971-AAD9-C9D7FFF1382F}" type="sibTrans" cxnId="{347AB206-7C94-4B19-ACB6-E075D3F15705}">
      <dgm:prSet/>
      <dgm:spPr/>
      <dgm:t>
        <a:bodyPr/>
        <a:lstStyle/>
        <a:p>
          <a:endParaRPr lang="en-US"/>
        </a:p>
      </dgm:t>
    </dgm:pt>
    <dgm:pt modelId="{D76E5152-C004-41D0-8F15-11B318173FA1}">
      <dgm:prSet phldrT="[Texto]"/>
      <dgm:spPr>
        <a:noFill/>
        <a:ln>
          <a:noFill/>
        </a:ln>
      </dgm:spPr>
      <dgm:t>
        <a:bodyPr/>
        <a:lstStyle/>
        <a:p>
          <a:r>
            <a:rPr lang="en-US" dirty="0"/>
            <a:t> </a:t>
          </a:r>
        </a:p>
      </dgm:t>
    </dgm:pt>
    <dgm:pt modelId="{CE10B245-471D-4B8B-A299-46154C4C0210}" type="sibTrans" cxnId="{8C54BAA0-9715-4C74-9CF9-8DA076969A75}">
      <dgm:prSet/>
      <dgm:spPr/>
      <dgm:t>
        <a:bodyPr/>
        <a:lstStyle/>
        <a:p>
          <a:endParaRPr lang="en-US"/>
        </a:p>
      </dgm:t>
    </dgm:pt>
    <dgm:pt modelId="{4205756C-B22C-495A-A017-F45124BE3004}" type="parTrans" cxnId="{8C54BAA0-9715-4C74-9CF9-8DA076969A75}">
      <dgm:prSet/>
      <dgm:spPr/>
      <dgm:t>
        <a:bodyPr/>
        <a:lstStyle/>
        <a:p>
          <a:endParaRPr lang="en-US"/>
        </a:p>
      </dgm:t>
    </dgm:pt>
    <dgm:pt modelId="{E493C3AD-707B-4E8D-9017-08AEA432C77C}">
      <dgm:prSet phldrT="[Texto]"/>
      <dgm:spPr>
        <a:noFill/>
        <a:ln>
          <a:noFill/>
        </a:ln>
      </dgm:spPr>
      <dgm:t>
        <a:bodyPr/>
        <a:lstStyle/>
        <a:p>
          <a:endParaRPr lang="en-US" dirty="0"/>
        </a:p>
      </dgm:t>
    </dgm:pt>
    <dgm:pt modelId="{CEC5DFDC-9000-4CC5-A483-774314FDCB7F}" type="parTrans" cxnId="{975E8290-BDEB-4F6A-9607-4CDFD058E333}">
      <dgm:prSet/>
      <dgm:spPr/>
      <dgm:t>
        <a:bodyPr/>
        <a:lstStyle/>
        <a:p>
          <a:endParaRPr lang="en-US"/>
        </a:p>
      </dgm:t>
    </dgm:pt>
    <dgm:pt modelId="{DAACD095-55D6-4B99-B723-95EB7236A737}" type="sibTrans" cxnId="{975E8290-BDEB-4F6A-9607-4CDFD058E333}">
      <dgm:prSet/>
      <dgm:spPr/>
      <dgm:t>
        <a:bodyPr/>
        <a:lstStyle/>
        <a:p>
          <a:endParaRPr lang="en-US"/>
        </a:p>
      </dgm:t>
    </dgm:pt>
    <dgm:pt modelId="{97B2C077-5B6C-4AA1-813D-0A3CDFE60757}">
      <dgm:prSet phldrT="[Texto]"/>
      <dgm:spPr>
        <a:noFill/>
        <a:ln>
          <a:noFill/>
        </a:ln>
      </dgm:spPr>
      <dgm:t>
        <a:bodyPr/>
        <a:lstStyle/>
        <a:p>
          <a:endParaRPr lang="en-US" dirty="0"/>
        </a:p>
      </dgm:t>
    </dgm:pt>
    <dgm:pt modelId="{2E0C9CA3-79A3-46C7-9F1A-6FED0CFF1DE1}" type="parTrans" cxnId="{69589E91-D0E8-4144-AF54-5F85ABDE5837}">
      <dgm:prSet/>
      <dgm:spPr/>
      <dgm:t>
        <a:bodyPr/>
        <a:lstStyle/>
        <a:p>
          <a:endParaRPr lang="en-US"/>
        </a:p>
      </dgm:t>
    </dgm:pt>
    <dgm:pt modelId="{08AD7214-66B2-4943-9439-781E7ADCCFBE}" type="sibTrans" cxnId="{69589E91-D0E8-4144-AF54-5F85ABDE5837}">
      <dgm:prSet/>
      <dgm:spPr/>
      <dgm:t>
        <a:bodyPr/>
        <a:lstStyle/>
        <a:p>
          <a:endParaRPr lang="en-US"/>
        </a:p>
      </dgm:t>
    </dgm:pt>
    <dgm:pt modelId="{7A92A464-24FC-4B85-A0DD-E5834B2DA54E}" type="pres">
      <dgm:prSet presAssocID="{464EFB9E-9ED6-4B21-9CA7-9C1CC31F5932}" presName="Name0" presStyleCnt="0">
        <dgm:presLayoutVars>
          <dgm:chMax val="7"/>
          <dgm:chPref val="7"/>
          <dgm:dir/>
        </dgm:presLayoutVars>
      </dgm:prSet>
      <dgm:spPr/>
    </dgm:pt>
    <dgm:pt modelId="{5A62F5FF-D9B9-4F7C-9E46-94C929FBD90D}" type="pres">
      <dgm:prSet presAssocID="{464EFB9E-9ED6-4B21-9CA7-9C1CC31F5932}" presName="dot1" presStyleLbl="alignNode1" presStyleIdx="0" presStyleCnt="13"/>
      <dgm:spPr/>
    </dgm:pt>
    <dgm:pt modelId="{423B1A89-1FE9-49B1-9F21-EB8C389D979D}" type="pres">
      <dgm:prSet presAssocID="{464EFB9E-9ED6-4B21-9CA7-9C1CC31F5932}" presName="dot2" presStyleLbl="alignNode1" presStyleIdx="1" presStyleCnt="13"/>
      <dgm:spPr/>
    </dgm:pt>
    <dgm:pt modelId="{A02E0031-50E3-44FA-81E2-1C69FE1D2378}" type="pres">
      <dgm:prSet presAssocID="{464EFB9E-9ED6-4B21-9CA7-9C1CC31F5932}" presName="dot3" presStyleLbl="alignNode1" presStyleIdx="2" presStyleCnt="13"/>
      <dgm:spPr/>
    </dgm:pt>
    <dgm:pt modelId="{0AC08C1C-C745-408E-8C10-C89B6E57BA94}" type="pres">
      <dgm:prSet presAssocID="{464EFB9E-9ED6-4B21-9CA7-9C1CC31F5932}" presName="dot4" presStyleLbl="alignNode1" presStyleIdx="3" presStyleCnt="13"/>
      <dgm:spPr/>
    </dgm:pt>
    <dgm:pt modelId="{2FC8DB9B-6DF1-43D9-8C9D-D91C10A33251}" type="pres">
      <dgm:prSet presAssocID="{464EFB9E-9ED6-4B21-9CA7-9C1CC31F5932}" presName="dot5" presStyleLbl="alignNode1" presStyleIdx="4" presStyleCnt="13"/>
      <dgm:spPr/>
    </dgm:pt>
    <dgm:pt modelId="{B0170F59-19AD-4424-8274-B5BA46F02B22}" type="pres">
      <dgm:prSet presAssocID="{464EFB9E-9ED6-4B21-9CA7-9C1CC31F5932}" presName="dot6" presStyleLbl="alignNode1" presStyleIdx="5" presStyleCnt="13"/>
      <dgm:spPr/>
    </dgm:pt>
    <dgm:pt modelId="{3A2A0E75-521F-4D53-AFA0-0D93AF5763B0}" type="pres">
      <dgm:prSet presAssocID="{464EFB9E-9ED6-4B21-9CA7-9C1CC31F5932}" presName="dotArrow1" presStyleLbl="alignNode1" presStyleIdx="6" presStyleCnt="13"/>
      <dgm:spPr/>
    </dgm:pt>
    <dgm:pt modelId="{05435A6D-157B-4CC7-B48B-54DF21C884B1}" type="pres">
      <dgm:prSet presAssocID="{464EFB9E-9ED6-4B21-9CA7-9C1CC31F5932}" presName="dotArrow2" presStyleLbl="alignNode1" presStyleIdx="7" presStyleCnt="13"/>
      <dgm:spPr/>
    </dgm:pt>
    <dgm:pt modelId="{16E0CD01-6993-4516-BA28-DA940324856A}" type="pres">
      <dgm:prSet presAssocID="{464EFB9E-9ED6-4B21-9CA7-9C1CC31F5932}" presName="dotArrow3" presStyleLbl="alignNode1" presStyleIdx="8" presStyleCnt="13"/>
      <dgm:spPr/>
    </dgm:pt>
    <dgm:pt modelId="{9FC27036-8F32-47DF-9511-0703D3FDD695}" type="pres">
      <dgm:prSet presAssocID="{464EFB9E-9ED6-4B21-9CA7-9C1CC31F5932}" presName="dotArrow4" presStyleLbl="alignNode1" presStyleIdx="9" presStyleCnt="13"/>
      <dgm:spPr/>
    </dgm:pt>
    <dgm:pt modelId="{E8EF781D-7E1A-462B-9C8B-3428CB4D5B3A}" type="pres">
      <dgm:prSet presAssocID="{464EFB9E-9ED6-4B21-9CA7-9C1CC31F5932}" presName="dotArrow5" presStyleLbl="alignNode1" presStyleIdx="10" presStyleCnt="13"/>
      <dgm:spPr/>
    </dgm:pt>
    <dgm:pt modelId="{A332E9BE-0F9E-4B2F-931A-442003A73B2B}" type="pres">
      <dgm:prSet presAssocID="{464EFB9E-9ED6-4B21-9CA7-9C1CC31F5932}" presName="dotArrow6" presStyleLbl="alignNode1" presStyleIdx="11" presStyleCnt="13"/>
      <dgm:spPr/>
    </dgm:pt>
    <dgm:pt modelId="{DC813A01-5DCD-427A-B655-A1A203B8BD5C}" type="pres">
      <dgm:prSet presAssocID="{464EFB9E-9ED6-4B21-9CA7-9C1CC31F5932}" presName="dotArrow7" presStyleLbl="alignNode1" presStyleIdx="12" presStyleCnt="13"/>
      <dgm:spPr/>
    </dgm:pt>
    <dgm:pt modelId="{4D2624BD-2FB5-47BD-A978-AFF926E5A2F0}" type="pres">
      <dgm:prSet presAssocID="{D76E5152-C004-41D0-8F15-11B318173FA1}" presName="parTx1" presStyleLbl="node1" presStyleIdx="0" presStyleCnt="4"/>
      <dgm:spPr/>
    </dgm:pt>
    <dgm:pt modelId="{8E489E4A-BE1A-4869-BD79-7C5011723372}" type="pres">
      <dgm:prSet presAssocID="{CE10B245-471D-4B8B-A299-46154C4C0210}" presName="picture1" presStyleCnt="0"/>
      <dgm:spPr/>
    </dgm:pt>
    <dgm:pt modelId="{50AF2742-BC7C-4382-A636-726BEF07B3DB}" type="pres">
      <dgm:prSet presAssocID="{CE10B245-471D-4B8B-A299-46154C4C0210}" presName="imageRepeatNode" presStyleLbl="fgImgPlace1" presStyleIdx="0" presStyleCnt="4"/>
      <dgm:spPr/>
    </dgm:pt>
    <dgm:pt modelId="{87A7F3CE-B643-4BC5-84D1-EA02A6A052B2}" type="pres">
      <dgm:prSet presAssocID="{E493C3AD-707B-4E8D-9017-08AEA432C77C}" presName="parTx2" presStyleLbl="node1" presStyleIdx="1" presStyleCnt="4"/>
      <dgm:spPr/>
    </dgm:pt>
    <dgm:pt modelId="{E40C4A50-F8A4-46D5-B868-F155376F578C}" type="pres">
      <dgm:prSet presAssocID="{DAACD095-55D6-4B99-B723-95EB7236A737}" presName="picture2" presStyleCnt="0"/>
      <dgm:spPr/>
    </dgm:pt>
    <dgm:pt modelId="{17A1D0E5-3814-4D6C-89AF-F80F358B009C}" type="pres">
      <dgm:prSet presAssocID="{DAACD095-55D6-4B99-B723-95EB7236A737}" presName="imageRepeatNode" presStyleLbl="fgImgPlace1" presStyleIdx="1" presStyleCnt="4"/>
      <dgm:spPr/>
    </dgm:pt>
    <dgm:pt modelId="{25F032E4-B902-40EF-83DC-7F80E084F005}" type="pres">
      <dgm:prSet presAssocID="{97B2C077-5B6C-4AA1-813D-0A3CDFE60757}" presName="parTx3" presStyleLbl="node1" presStyleIdx="2" presStyleCnt="4"/>
      <dgm:spPr/>
    </dgm:pt>
    <dgm:pt modelId="{385F45A3-56AA-4976-974E-59CCFC8121D2}" type="pres">
      <dgm:prSet presAssocID="{08AD7214-66B2-4943-9439-781E7ADCCFBE}" presName="picture3" presStyleCnt="0"/>
      <dgm:spPr/>
    </dgm:pt>
    <dgm:pt modelId="{E4EE51E2-14FC-43AB-A4CF-3DC61373FC8E}" type="pres">
      <dgm:prSet presAssocID="{08AD7214-66B2-4943-9439-781E7ADCCFBE}" presName="imageRepeatNode" presStyleLbl="fgImgPlace1" presStyleIdx="2" presStyleCnt="4"/>
      <dgm:spPr/>
    </dgm:pt>
    <dgm:pt modelId="{24068541-444F-4A12-86C3-F574564A9996}" type="pres">
      <dgm:prSet presAssocID="{D9998263-E594-48B2-8860-7B43DAE61C26}" presName="parTx4" presStyleLbl="node1" presStyleIdx="3" presStyleCnt="4"/>
      <dgm:spPr/>
    </dgm:pt>
    <dgm:pt modelId="{A3505D83-61A3-45E7-A426-0B36AEE144EA}" type="pres">
      <dgm:prSet presAssocID="{E8A9B0C4-6BBF-4971-AAD9-C9D7FFF1382F}" presName="picture4" presStyleCnt="0"/>
      <dgm:spPr/>
    </dgm:pt>
    <dgm:pt modelId="{176EF536-486D-4C5D-A7C7-A64BE5DBA0E0}" type="pres">
      <dgm:prSet presAssocID="{E8A9B0C4-6BBF-4971-AAD9-C9D7FFF1382F}" presName="imageRepeatNode" presStyleLbl="fgImgPlace1" presStyleIdx="3" presStyleCnt="4"/>
      <dgm:spPr/>
    </dgm:pt>
  </dgm:ptLst>
  <dgm:cxnLst>
    <dgm:cxn modelId="{347AB206-7C94-4B19-ACB6-E075D3F15705}" srcId="{464EFB9E-9ED6-4B21-9CA7-9C1CC31F5932}" destId="{D9998263-E594-48B2-8860-7B43DAE61C26}" srcOrd="3" destOrd="0" parTransId="{0F857DAF-79D3-44BA-9E5C-6C96AF1CC2A7}" sibTransId="{E8A9B0C4-6BBF-4971-AAD9-C9D7FFF1382F}"/>
    <dgm:cxn modelId="{85E75B08-761E-4C3D-A7A5-BECE8F64962E}" type="presOf" srcId="{D9998263-E594-48B2-8860-7B43DAE61C26}" destId="{24068541-444F-4A12-86C3-F574564A9996}" srcOrd="0" destOrd="0" presId="urn:microsoft.com/office/officeart/2008/layout/AscendingPictureAccentProcess"/>
    <dgm:cxn modelId="{5B0A8D22-F85F-406E-8735-A2D6D012FC69}" type="presOf" srcId="{CE10B245-471D-4B8B-A299-46154C4C0210}" destId="{50AF2742-BC7C-4382-A636-726BEF07B3DB}" srcOrd="0" destOrd="0" presId="urn:microsoft.com/office/officeart/2008/layout/AscendingPictureAccentProcess"/>
    <dgm:cxn modelId="{9F465D37-D7AF-4D2E-A18D-B957A675E4D2}" type="presOf" srcId="{DAACD095-55D6-4B99-B723-95EB7236A737}" destId="{17A1D0E5-3814-4D6C-89AF-F80F358B009C}" srcOrd="0" destOrd="0" presId="urn:microsoft.com/office/officeart/2008/layout/AscendingPictureAccentProcess"/>
    <dgm:cxn modelId="{671E0246-832B-44C5-9275-0E71FC8EEBDC}" type="presOf" srcId="{E8A9B0C4-6BBF-4971-AAD9-C9D7FFF1382F}" destId="{176EF536-486D-4C5D-A7C7-A64BE5DBA0E0}" srcOrd="0" destOrd="0" presId="urn:microsoft.com/office/officeart/2008/layout/AscendingPictureAccentProcess"/>
    <dgm:cxn modelId="{0560C177-FB2A-4A2C-BB04-34A901AFFBC0}" type="presOf" srcId="{464EFB9E-9ED6-4B21-9CA7-9C1CC31F5932}" destId="{7A92A464-24FC-4B85-A0DD-E5834B2DA54E}" srcOrd="0" destOrd="0" presId="urn:microsoft.com/office/officeart/2008/layout/AscendingPictureAccentProcess"/>
    <dgm:cxn modelId="{6E94517E-C901-41B7-9992-B44AD94168D4}" type="presOf" srcId="{97B2C077-5B6C-4AA1-813D-0A3CDFE60757}" destId="{25F032E4-B902-40EF-83DC-7F80E084F005}" srcOrd="0" destOrd="0" presId="urn:microsoft.com/office/officeart/2008/layout/AscendingPictureAccentProcess"/>
    <dgm:cxn modelId="{975E8290-BDEB-4F6A-9607-4CDFD058E333}" srcId="{464EFB9E-9ED6-4B21-9CA7-9C1CC31F5932}" destId="{E493C3AD-707B-4E8D-9017-08AEA432C77C}" srcOrd="1" destOrd="0" parTransId="{CEC5DFDC-9000-4CC5-A483-774314FDCB7F}" sibTransId="{DAACD095-55D6-4B99-B723-95EB7236A737}"/>
    <dgm:cxn modelId="{69589E91-D0E8-4144-AF54-5F85ABDE5837}" srcId="{464EFB9E-9ED6-4B21-9CA7-9C1CC31F5932}" destId="{97B2C077-5B6C-4AA1-813D-0A3CDFE60757}" srcOrd="2" destOrd="0" parTransId="{2E0C9CA3-79A3-46C7-9F1A-6FED0CFF1DE1}" sibTransId="{08AD7214-66B2-4943-9439-781E7ADCCFBE}"/>
    <dgm:cxn modelId="{8C54BAA0-9715-4C74-9CF9-8DA076969A75}" srcId="{464EFB9E-9ED6-4B21-9CA7-9C1CC31F5932}" destId="{D76E5152-C004-41D0-8F15-11B318173FA1}" srcOrd="0" destOrd="0" parTransId="{4205756C-B22C-495A-A017-F45124BE3004}" sibTransId="{CE10B245-471D-4B8B-A299-46154C4C0210}"/>
    <dgm:cxn modelId="{360A21C3-E112-4268-BD7D-914823E926BB}" type="presOf" srcId="{D76E5152-C004-41D0-8F15-11B318173FA1}" destId="{4D2624BD-2FB5-47BD-A978-AFF926E5A2F0}" srcOrd="0" destOrd="0" presId="urn:microsoft.com/office/officeart/2008/layout/AscendingPictureAccentProcess"/>
    <dgm:cxn modelId="{836658E3-4EAE-4BC3-B6FD-43D0800F171F}" type="presOf" srcId="{08AD7214-66B2-4943-9439-781E7ADCCFBE}" destId="{E4EE51E2-14FC-43AB-A4CF-3DC61373FC8E}" srcOrd="0" destOrd="0" presId="urn:microsoft.com/office/officeart/2008/layout/AscendingPictureAccentProcess"/>
    <dgm:cxn modelId="{B12E98E9-1F0F-417D-959A-1CE56437AEAC}" type="presOf" srcId="{E493C3AD-707B-4E8D-9017-08AEA432C77C}" destId="{87A7F3CE-B643-4BC5-84D1-EA02A6A052B2}" srcOrd="0" destOrd="0" presId="urn:microsoft.com/office/officeart/2008/layout/AscendingPictureAccentProcess"/>
    <dgm:cxn modelId="{C79384BC-80AA-46A2-9734-766AB761A07B}" type="presParOf" srcId="{7A92A464-24FC-4B85-A0DD-E5834B2DA54E}" destId="{5A62F5FF-D9B9-4F7C-9E46-94C929FBD90D}" srcOrd="0" destOrd="0" presId="urn:microsoft.com/office/officeart/2008/layout/AscendingPictureAccentProcess"/>
    <dgm:cxn modelId="{ED09D754-2872-4F9C-B8A7-65262C771C61}" type="presParOf" srcId="{7A92A464-24FC-4B85-A0DD-E5834B2DA54E}" destId="{423B1A89-1FE9-49B1-9F21-EB8C389D979D}" srcOrd="1" destOrd="0" presId="urn:microsoft.com/office/officeart/2008/layout/AscendingPictureAccentProcess"/>
    <dgm:cxn modelId="{A82CF53E-5B0B-403F-84FA-52E2F369958C}" type="presParOf" srcId="{7A92A464-24FC-4B85-A0DD-E5834B2DA54E}" destId="{A02E0031-50E3-44FA-81E2-1C69FE1D2378}" srcOrd="2" destOrd="0" presId="urn:microsoft.com/office/officeart/2008/layout/AscendingPictureAccentProcess"/>
    <dgm:cxn modelId="{D78EA5DC-0BA7-485B-A525-B35D9F4B2791}" type="presParOf" srcId="{7A92A464-24FC-4B85-A0DD-E5834B2DA54E}" destId="{0AC08C1C-C745-408E-8C10-C89B6E57BA94}" srcOrd="3" destOrd="0" presId="urn:microsoft.com/office/officeart/2008/layout/AscendingPictureAccentProcess"/>
    <dgm:cxn modelId="{6BCFF436-144F-4972-8C79-2AF175C3F0C1}" type="presParOf" srcId="{7A92A464-24FC-4B85-A0DD-E5834B2DA54E}" destId="{2FC8DB9B-6DF1-43D9-8C9D-D91C10A33251}" srcOrd="4" destOrd="0" presId="urn:microsoft.com/office/officeart/2008/layout/AscendingPictureAccentProcess"/>
    <dgm:cxn modelId="{6581C613-62A3-42B2-B119-44B152B270D2}" type="presParOf" srcId="{7A92A464-24FC-4B85-A0DD-E5834B2DA54E}" destId="{B0170F59-19AD-4424-8274-B5BA46F02B22}" srcOrd="5" destOrd="0" presId="urn:microsoft.com/office/officeart/2008/layout/AscendingPictureAccentProcess"/>
    <dgm:cxn modelId="{D30DCE8C-6BF0-4670-8896-11B13D956B8A}" type="presParOf" srcId="{7A92A464-24FC-4B85-A0DD-E5834B2DA54E}" destId="{3A2A0E75-521F-4D53-AFA0-0D93AF5763B0}" srcOrd="6" destOrd="0" presId="urn:microsoft.com/office/officeart/2008/layout/AscendingPictureAccentProcess"/>
    <dgm:cxn modelId="{EDBF83CC-980B-4163-A667-75D36EB31F9E}" type="presParOf" srcId="{7A92A464-24FC-4B85-A0DD-E5834B2DA54E}" destId="{05435A6D-157B-4CC7-B48B-54DF21C884B1}" srcOrd="7" destOrd="0" presId="urn:microsoft.com/office/officeart/2008/layout/AscendingPictureAccentProcess"/>
    <dgm:cxn modelId="{0378FD6F-9424-40E8-9466-DA847E1974B2}" type="presParOf" srcId="{7A92A464-24FC-4B85-A0DD-E5834B2DA54E}" destId="{16E0CD01-6993-4516-BA28-DA940324856A}" srcOrd="8" destOrd="0" presId="urn:microsoft.com/office/officeart/2008/layout/AscendingPictureAccentProcess"/>
    <dgm:cxn modelId="{5687D4CA-F0EB-4DDF-AC0A-6267301BE2CB}" type="presParOf" srcId="{7A92A464-24FC-4B85-A0DD-E5834B2DA54E}" destId="{9FC27036-8F32-47DF-9511-0703D3FDD695}" srcOrd="9" destOrd="0" presId="urn:microsoft.com/office/officeart/2008/layout/AscendingPictureAccentProcess"/>
    <dgm:cxn modelId="{AC0FD0D6-B6AD-4D18-A8DE-CFB9C1A4FAB7}" type="presParOf" srcId="{7A92A464-24FC-4B85-A0DD-E5834B2DA54E}" destId="{E8EF781D-7E1A-462B-9C8B-3428CB4D5B3A}" srcOrd="10" destOrd="0" presId="urn:microsoft.com/office/officeart/2008/layout/AscendingPictureAccentProcess"/>
    <dgm:cxn modelId="{9233BA53-71C3-41F7-8E94-378F75814893}" type="presParOf" srcId="{7A92A464-24FC-4B85-A0DD-E5834B2DA54E}" destId="{A332E9BE-0F9E-4B2F-931A-442003A73B2B}" srcOrd="11" destOrd="0" presId="urn:microsoft.com/office/officeart/2008/layout/AscendingPictureAccentProcess"/>
    <dgm:cxn modelId="{CCC63EFE-243C-4E36-9464-93AD332FE159}" type="presParOf" srcId="{7A92A464-24FC-4B85-A0DD-E5834B2DA54E}" destId="{DC813A01-5DCD-427A-B655-A1A203B8BD5C}" srcOrd="12" destOrd="0" presId="urn:microsoft.com/office/officeart/2008/layout/AscendingPictureAccentProcess"/>
    <dgm:cxn modelId="{BF5E910C-B775-47C0-AAAE-73553631BF91}" type="presParOf" srcId="{7A92A464-24FC-4B85-A0DD-E5834B2DA54E}" destId="{4D2624BD-2FB5-47BD-A978-AFF926E5A2F0}" srcOrd="13" destOrd="0" presId="urn:microsoft.com/office/officeart/2008/layout/AscendingPictureAccentProcess"/>
    <dgm:cxn modelId="{17219131-64A5-4054-A19D-0AE0E214A310}" type="presParOf" srcId="{7A92A464-24FC-4B85-A0DD-E5834B2DA54E}" destId="{8E489E4A-BE1A-4869-BD79-7C5011723372}" srcOrd="14" destOrd="0" presId="urn:microsoft.com/office/officeart/2008/layout/AscendingPictureAccentProcess"/>
    <dgm:cxn modelId="{57524BD5-895F-4073-9020-9465CC707616}" type="presParOf" srcId="{8E489E4A-BE1A-4869-BD79-7C5011723372}" destId="{50AF2742-BC7C-4382-A636-726BEF07B3DB}" srcOrd="0" destOrd="0" presId="urn:microsoft.com/office/officeart/2008/layout/AscendingPictureAccentProcess"/>
    <dgm:cxn modelId="{D837A9F7-BFB2-45DE-87A4-D4AE65618F17}" type="presParOf" srcId="{7A92A464-24FC-4B85-A0DD-E5834B2DA54E}" destId="{87A7F3CE-B643-4BC5-84D1-EA02A6A052B2}" srcOrd="15" destOrd="0" presId="urn:microsoft.com/office/officeart/2008/layout/AscendingPictureAccentProcess"/>
    <dgm:cxn modelId="{996F7E88-5150-41EE-AA33-34CCDB6A8FB5}" type="presParOf" srcId="{7A92A464-24FC-4B85-A0DD-E5834B2DA54E}" destId="{E40C4A50-F8A4-46D5-B868-F155376F578C}" srcOrd="16" destOrd="0" presId="urn:microsoft.com/office/officeart/2008/layout/AscendingPictureAccentProcess"/>
    <dgm:cxn modelId="{EE48E167-4944-4C02-870D-7D6359B4ECB3}" type="presParOf" srcId="{E40C4A50-F8A4-46D5-B868-F155376F578C}" destId="{17A1D0E5-3814-4D6C-89AF-F80F358B009C}" srcOrd="0" destOrd="0" presId="urn:microsoft.com/office/officeart/2008/layout/AscendingPictureAccentProcess"/>
    <dgm:cxn modelId="{700B8F4A-7C59-4D63-BC3C-84CC59CF62CE}" type="presParOf" srcId="{7A92A464-24FC-4B85-A0DD-E5834B2DA54E}" destId="{25F032E4-B902-40EF-83DC-7F80E084F005}" srcOrd="17" destOrd="0" presId="urn:microsoft.com/office/officeart/2008/layout/AscendingPictureAccentProcess"/>
    <dgm:cxn modelId="{C952313D-4E34-410F-833D-470CBF2FE223}" type="presParOf" srcId="{7A92A464-24FC-4B85-A0DD-E5834B2DA54E}" destId="{385F45A3-56AA-4976-974E-59CCFC8121D2}" srcOrd="18" destOrd="0" presId="urn:microsoft.com/office/officeart/2008/layout/AscendingPictureAccentProcess"/>
    <dgm:cxn modelId="{D22EFD7E-2C79-49C7-BB30-EACD285FBD49}" type="presParOf" srcId="{385F45A3-56AA-4976-974E-59CCFC8121D2}" destId="{E4EE51E2-14FC-43AB-A4CF-3DC61373FC8E}" srcOrd="0" destOrd="0" presId="urn:microsoft.com/office/officeart/2008/layout/AscendingPictureAccentProcess"/>
    <dgm:cxn modelId="{FE958C74-A2D9-48DA-8B70-1A2CDB4BA1AF}" type="presParOf" srcId="{7A92A464-24FC-4B85-A0DD-E5834B2DA54E}" destId="{24068541-444F-4A12-86C3-F574564A9996}" srcOrd="19" destOrd="0" presId="urn:microsoft.com/office/officeart/2008/layout/AscendingPictureAccentProcess"/>
    <dgm:cxn modelId="{DE7941BB-774B-4E73-82B7-C059664E964D}" type="presParOf" srcId="{7A92A464-24FC-4B85-A0DD-E5834B2DA54E}" destId="{A3505D83-61A3-45E7-A426-0B36AEE144EA}" srcOrd="20" destOrd="0" presId="urn:microsoft.com/office/officeart/2008/layout/AscendingPictureAccentProcess"/>
    <dgm:cxn modelId="{4ED9FF5A-4C83-4B43-BC62-9E643033DD4D}" type="presParOf" srcId="{A3505D83-61A3-45E7-A426-0B36AEE144EA}" destId="{176EF536-486D-4C5D-A7C7-A64BE5DBA0E0}" srcOrd="0" destOrd="0" presId="urn:microsoft.com/office/officeart/2008/layout/AscendingPictureAccentProcess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62F5FF-D9B9-4F7C-9E46-94C929FBD90D}">
      <dsp:nvSpPr>
        <dsp:cNvPr id="0" name=""/>
        <dsp:cNvSpPr/>
      </dsp:nvSpPr>
      <dsp:spPr>
        <a:xfrm>
          <a:off x="1767290" y="3623723"/>
          <a:ext cx="92223" cy="9222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23B1A89-1FE9-49B1-9F21-EB8C389D979D}">
      <dsp:nvSpPr>
        <dsp:cNvPr id="0" name=""/>
        <dsp:cNvSpPr/>
      </dsp:nvSpPr>
      <dsp:spPr>
        <a:xfrm>
          <a:off x="1561858" y="3717396"/>
          <a:ext cx="92223" cy="9222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2E0031-50E3-44FA-81E2-1C69FE1D2378}">
      <dsp:nvSpPr>
        <dsp:cNvPr id="0" name=""/>
        <dsp:cNvSpPr/>
      </dsp:nvSpPr>
      <dsp:spPr>
        <a:xfrm>
          <a:off x="1350352" y="3794513"/>
          <a:ext cx="92223" cy="9222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AC08C1C-C745-408E-8C10-C89B6E57BA94}">
      <dsp:nvSpPr>
        <dsp:cNvPr id="0" name=""/>
        <dsp:cNvSpPr/>
      </dsp:nvSpPr>
      <dsp:spPr>
        <a:xfrm>
          <a:off x="1132772" y="3854638"/>
          <a:ext cx="92223" cy="9222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FC8DB9B-6DF1-43D9-8C9D-D91C10A33251}">
      <dsp:nvSpPr>
        <dsp:cNvPr id="0" name=""/>
        <dsp:cNvSpPr/>
      </dsp:nvSpPr>
      <dsp:spPr>
        <a:xfrm>
          <a:off x="2727627" y="2841226"/>
          <a:ext cx="92223" cy="9222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0170F59-19AD-4424-8274-B5BA46F02B22}">
      <dsp:nvSpPr>
        <dsp:cNvPr id="0" name=""/>
        <dsp:cNvSpPr/>
      </dsp:nvSpPr>
      <dsp:spPr>
        <a:xfrm>
          <a:off x="3275444" y="1693187"/>
          <a:ext cx="92223" cy="9222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2A0E75-521F-4D53-AFA0-0D93AF5763B0}">
      <dsp:nvSpPr>
        <dsp:cNvPr id="0" name=""/>
        <dsp:cNvSpPr/>
      </dsp:nvSpPr>
      <dsp:spPr>
        <a:xfrm>
          <a:off x="3127445" y="260644"/>
          <a:ext cx="92223" cy="9222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5435A6D-157B-4CC7-B48B-54DF21C884B1}">
      <dsp:nvSpPr>
        <dsp:cNvPr id="0" name=""/>
        <dsp:cNvSpPr/>
      </dsp:nvSpPr>
      <dsp:spPr>
        <a:xfrm>
          <a:off x="3258877" y="167406"/>
          <a:ext cx="92223" cy="9222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6E0CD01-6993-4516-BA28-DA940324856A}">
      <dsp:nvSpPr>
        <dsp:cNvPr id="0" name=""/>
        <dsp:cNvSpPr/>
      </dsp:nvSpPr>
      <dsp:spPr>
        <a:xfrm>
          <a:off x="3390309" y="74169"/>
          <a:ext cx="92223" cy="9222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FC27036-8F32-47DF-9511-0703D3FDD695}">
      <dsp:nvSpPr>
        <dsp:cNvPr id="0" name=""/>
        <dsp:cNvSpPr/>
      </dsp:nvSpPr>
      <dsp:spPr>
        <a:xfrm>
          <a:off x="3521741" y="167406"/>
          <a:ext cx="92223" cy="9222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8EF781D-7E1A-462B-9C8B-3428CB4D5B3A}">
      <dsp:nvSpPr>
        <dsp:cNvPr id="0" name=""/>
        <dsp:cNvSpPr/>
      </dsp:nvSpPr>
      <dsp:spPr>
        <a:xfrm>
          <a:off x="3653725" y="260644"/>
          <a:ext cx="92223" cy="9222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332E9BE-0F9E-4B2F-931A-442003A73B2B}">
      <dsp:nvSpPr>
        <dsp:cNvPr id="0" name=""/>
        <dsp:cNvSpPr/>
      </dsp:nvSpPr>
      <dsp:spPr>
        <a:xfrm>
          <a:off x="3390309" y="271100"/>
          <a:ext cx="92223" cy="9222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C813A01-5DCD-427A-B655-A1A203B8BD5C}">
      <dsp:nvSpPr>
        <dsp:cNvPr id="0" name=""/>
        <dsp:cNvSpPr/>
      </dsp:nvSpPr>
      <dsp:spPr>
        <a:xfrm>
          <a:off x="3390309" y="468031"/>
          <a:ext cx="92223" cy="9222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D2624BD-2FB5-47BD-A978-AFF926E5A2F0}">
      <dsp:nvSpPr>
        <dsp:cNvPr id="0" name=""/>
        <dsp:cNvSpPr/>
      </dsp:nvSpPr>
      <dsp:spPr>
        <a:xfrm>
          <a:off x="606768" y="4039734"/>
          <a:ext cx="1985285" cy="532411"/>
        </a:xfrm>
        <a:prstGeom prst="round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0219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 </a:t>
          </a:r>
        </a:p>
      </dsp:txBody>
      <dsp:txXfrm>
        <a:off x="632758" y="4065724"/>
        <a:ext cx="1933305" cy="480431"/>
      </dsp:txXfrm>
    </dsp:sp>
    <dsp:sp modelId="{50AF2742-BC7C-4382-A636-726BEF07B3DB}">
      <dsp:nvSpPr>
        <dsp:cNvPr id="0" name=""/>
        <dsp:cNvSpPr/>
      </dsp:nvSpPr>
      <dsp:spPr>
        <a:xfrm>
          <a:off x="56466" y="3517561"/>
          <a:ext cx="920575" cy="920609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7A7F3CE-B643-4BC5-84D1-EA02A6A052B2}">
      <dsp:nvSpPr>
        <dsp:cNvPr id="0" name=""/>
        <dsp:cNvSpPr/>
      </dsp:nvSpPr>
      <dsp:spPr>
        <a:xfrm>
          <a:off x="2388830" y="3397093"/>
          <a:ext cx="1985285" cy="532411"/>
        </a:xfrm>
        <a:prstGeom prst="round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0219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300" kern="1200" dirty="0"/>
        </a:p>
      </dsp:txBody>
      <dsp:txXfrm>
        <a:off x="2414820" y="3423083"/>
        <a:ext cx="1933305" cy="480431"/>
      </dsp:txXfrm>
    </dsp:sp>
    <dsp:sp modelId="{17A1D0E5-3814-4D6C-89AF-F80F358B009C}">
      <dsp:nvSpPr>
        <dsp:cNvPr id="0" name=""/>
        <dsp:cNvSpPr/>
      </dsp:nvSpPr>
      <dsp:spPr>
        <a:xfrm>
          <a:off x="1838528" y="2874921"/>
          <a:ext cx="920575" cy="920609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5F032E4-B902-40EF-83DC-7F80E084F005}">
      <dsp:nvSpPr>
        <dsp:cNvPr id="0" name=""/>
        <dsp:cNvSpPr/>
      </dsp:nvSpPr>
      <dsp:spPr>
        <a:xfrm>
          <a:off x="3147602" y="2383682"/>
          <a:ext cx="1985285" cy="532411"/>
        </a:xfrm>
        <a:prstGeom prst="round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0219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300" kern="1200" dirty="0"/>
        </a:p>
      </dsp:txBody>
      <dsp:txXfrm>
        <a:off x="3173592" y="2409672"/>
        <a:ext cx="1933305" cy="480431"/>
      </dsp:txXfrm>
    </dsp:sp>
    <dsp:sp modelId="{E4EE51E2-14FC-43AB-A4CF-3DC61373FC8E}">
      <dsp:nvSpPr>
        <dsp:cNvPr id="0" name=""/>
        <dsp:cNvSpPr/>
      </dsp:nvSpPr>
      <dsp:spPr>
        <a:xfrm>
          <a:off x="2597299" y="1861509"/>
          <a:ext cx="920575" cy="920609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4068541-444F-4A12-86C3-F574564A9996}">
      <dsp:nvSpPr>
        <dsp:cNvPr id="0" name=""/>
        <dsp:cNvSpPr/>
      </dsp:nvSpPr>
      <dsp:spPr>
        <a:xfrm>
          <a:off x="3480599" y="1176389"/>
          <a:ext cx="1985285" cy="532411"/>
        </a:xfrm>
        <a:prstGeom prst="round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0219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300" kern="1200" dirty="0"/>
        </a:p>
      </dsp:txBody>
      <dsp:txXfrm>
        <a:off x="3506589" y="1202379"/>
        <a:ext cx="1933305" cy="480431"/>
      </dsp:txXfrm>
    </dsp:sp>
    <dsp:sp modelId="{176EF536-486D-4C5D-A7C7-A64BE5DBA0E0}">
      <dsp:nvSpPr>
        <dsp:cNvPr id="0" name=""/>
        <dsp:cNvSpPr/>
      </dsp:nvSpPr>
      <dsp:spPr>
        <a:xfrm>
          <a:off x="2930297" y="654217"/>
          <a:ext cx="920575" cy="920609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AscendingPictureAccentProcess">
  <dgm:title val=""/>
  <dgm:desc val=""/>
  <dgm:catLst>
    <dgm:cat type="process" pri="22500"/>
    <dgm:cat type="picture" pri="16000"/>
    <dgm:cat type="pictureconvert" pri="1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func="var" arg="dir" op="equ" val="norm">
            <dgm:choose name="Name5">
              <dgm:if name="Name6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l" for="ch" forName="parTx1" refType="w" fact="0.2711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2469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7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l" for="ch" forName="parTx1" refType="w" fact="0.366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3333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if>
          <dgm:else name="Name8">
            <dgm:choose name="Name9">
              <dgm:if name="Name10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r" for="ch" forName="parTx1" refType="w" fact="0.7289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7531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1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r" for="ch" forName="parTx1" refType="w" fact="0.634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6667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func="var" arg="dir" op="equ" val="norm">
            <dgm:choose name="Name15">
              <dgm:if name="Name16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3221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3056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2859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309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334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359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3848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1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359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359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197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178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688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3503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17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4274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405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3794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4106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44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477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5106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44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477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477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2614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2369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l" for="ch" forName="parTx2" refType="w" fact="0.4893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4648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if>
          <dgm:else name="Name18">
            <dgm:choose name="Name19">
              <dgm:if name="Name20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6779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6944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7141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690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665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640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6152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9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640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640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803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821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312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6497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21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5726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594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6206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5894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55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522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4894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56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522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522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7386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7631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r" for="ch" forName="parTx2" refType="w" fact="0.5107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5352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func="var" arg="dir" op="equ" val="norm">
            <dgm:choose name="Name25">
              <dgm:if name="Name26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2981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2676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357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44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323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23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6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68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491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513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68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68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487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1328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732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3573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4763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4604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27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3684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3307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912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494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342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23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12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79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6068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6346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79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79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837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1641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l" for="ch" forName="parTx2" refType="w" fact="0.4612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4416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l" for="ch" forName="parTx3" refType="w" fact="0.5886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569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if>
          <dgm:else name="Name28">
            <dgm:choose name="Name29">
              <dgm:if name="Name30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7019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7324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643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55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677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76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4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31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509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486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31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31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513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8672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268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6427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5237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5396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31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6316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6693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088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506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658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76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88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21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3932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3654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21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21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163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8359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r" for="ch" forName="parTx2" refType="w" fact="0.5388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5584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r" for="ch" forName="parTx3" refType="w" fact="0.4114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431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func="var" arg="dir" op="equ" val="norm">
            <dgm:choose name="Name35">
              <dgm:if name="Name36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3253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2949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263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313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67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5486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5267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5462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565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5851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604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565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565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466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1333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10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3972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229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509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722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5588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37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3978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3606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3223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829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717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6709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6441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6679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691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715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739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691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691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793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163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l" for="ch" forName="parTx2" refType="w" fact="0.502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4857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l" for="ch" forName="parTx3" refType="w" fact="0.6394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6231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l" for="ch" forName="parTx4" refType="w" fact="0.6997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6834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if>
          <dgm:else name="Name38">
            <dgm:choose name="Name39">
              <dgm:if name="Name40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6747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7051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736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687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32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4514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4733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4538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434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4149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395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434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434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534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8667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89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6028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771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490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278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4412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41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6022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6394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6777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171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283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3291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3559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3321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308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284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260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308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308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207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837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r" for="ch" forName="parTx2" refType="w" fact="0.498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5143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r" for="ch" forName="parTx3" refType="w" fact="0.3606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3769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r" for="ch" forName="parTx4" refType="w" fact="0.3003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3166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else>
        </dgm:choose>
      </dgm:if>
      <dgm:if name="Name42" axis="ch" ptType="node" func="cnt" op="equ" val="5">
        <dgm:choose name="Name43">
          <dgm:if name="Name44" func="var" arg="dir" op="equ" val="norm">
            <dgm:choose name="Name45">
              <dgm:if name="Name46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3263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001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2733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462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69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484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5549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601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577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5951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6123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629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6467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6123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6123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1746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1631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982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3866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194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5078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827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5712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18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6064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47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3951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634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331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981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68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43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672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7278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699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7207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741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7624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7832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741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741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211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197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l" for="ch" forName="parTx2" refType="w" fact="0.4822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4682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l" for="ch" forName="parTx3" refType="w" fact="0.629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61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l" for="ch" forName="parTx4" refType="w" fact="0.7057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6917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l" for="ch" forName="parTx5" refType="w" fact="0.7484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7344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if>
          <dgm:else name="Name48">
            <dgm:choose name="Name49">
              <dgm:if name="Name50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6737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999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7267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538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30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516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4451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399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422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4049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3877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370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3533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3877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3877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8254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8369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018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6134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806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4922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173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4288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82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3936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51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6049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366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669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019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31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57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328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2722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300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2793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258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2376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2168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258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258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788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802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r" for="ch" forName="parTx2" refType="w" fact="0.5178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5318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r" for="ch" forName="parTx3" refType="w" fact="0.371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38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r" for="ch" forName="parTx4" refType="w" fact="0.2943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3083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r" for="ch" forName="parTx5" refType="w" fact="0.2516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2656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else>
        </dgm:choose>
      </dgm:if>
      <dgm:if name="Name52" axis="ch" ptType="node" func="cnt" op="equ" val="6">
        <dgm:choose name="Name53">
          <dgm:if name="Name54" func="var" arg="dir" op="equ" val="norm">
            <dgm:choose name="Name55">
              <dgm:if name="Name56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3608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3384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15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2923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2688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883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69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5696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624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6509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6281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6437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6593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67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690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6593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6593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091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1988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273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4169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349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524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998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5894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416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6313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644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6541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57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4276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401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739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3464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3186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786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564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67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740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7714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7443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7628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7814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7999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818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7814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7814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479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2356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l" for="ch" forName="parTx2" refType="w" fact="0.5064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4941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l" for="ch" forName="parTx3" refType="w" fact="0.6339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6216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l" for="ch" forName="parTx4" refType="w" fact="0.7108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698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l" for="ch" forName="parTx5" refType="w" fact="0.7604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7481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l" for="ch" forName="parTx6" refType="w" fact="0.7874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7751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if>
          <dgm:else name="Name58">
            <dgm:choose name="Name59">
              <dgm:if name="Name60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6392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6616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84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7077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7312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117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30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4304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375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3491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3719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3563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340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32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309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340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340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909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8012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727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5831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651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475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002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4106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584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3687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356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3459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61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5724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599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261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6536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6814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214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436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32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259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2286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2557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2372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218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2001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181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218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218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522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7644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r" for="ch" forName="parTx2" refType="w" fact="0.4937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5059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r" for="ch" forName="parTx3" refType="w" fact="0.3662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3784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r" for="ch" forName="parTx4" refType="w" fact="0.2893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301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r" for="ch" forName="parTx5" refType="w" fact="0.2397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2519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r" for="ch" forName="parTx6" refType="w" fact="0.2127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2249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else>
        </dgm:choose>
      </dgm:if>
      <dgm:else name="Name62">
        <dgm:choose name="Name63">
          <dgm:if name="Name64" func="var" arg="dir" op="equ" val="norm">
            <dgm:choose name="Name65">
              <dgm:if name="Name66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390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3721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353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337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142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088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926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583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6371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6701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6853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6627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6773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6919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706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7212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6919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6919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556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246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53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4439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511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541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6132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6037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576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648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828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6733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  <dgm:constr type="l" for="ch" forName="parTx7" refType="w" fact="0.6966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6871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l" for="ch" forName="desTx7" refType="r" refFor="ch" refForName="parTx7"/>
                  <dgm:constr type="r" for="ch" forName="desTx7" refType="w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67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445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4244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4026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806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584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803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618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665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7266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7643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7816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7558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772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7892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8058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822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7892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7892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91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2806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l" for="ch" forName="parTx2" refType="w" fact="0.5172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5063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l" for="ch" forName="parTx3" refType="w" fact="0.628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6176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l" for="ch" forName="parTx4" refType="w" fact="0.6994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688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l" for="ch" forName="parTx5" refType="w" fact="0.7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7391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l" for="ch" forName="parTx6" refType="w" fact="0.7788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7679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l" for="ch" forName="parTx7" refType="w" fact="0.794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7836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if>
          <dgm:else name="Name68">
            <dgm:choose name="Name69">
              <dgm:if name="Name70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609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6279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647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663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858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912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074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416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3629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3299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3147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3373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3227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3081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293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2788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3081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3081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444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754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46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5561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489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458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3868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3963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424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352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172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3267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  <dgm:constr type="r" for="ch" forName="parTx7" refType="w" fact="0.3034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3129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r" for="ch" forName="desTx7" refType="l" refFor="ch" refForName="parTx7"/>
                  <dgm:constr type="l" for="ch" forName="desTx7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71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554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5756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5974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194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416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197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382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334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2734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2357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2184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2442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227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2108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1942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177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2108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2108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08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7194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r" for="ch" forName="parTx2" refType="w" fact="0.4828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4937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r" for="ch" forName="parTx3" refType="w" fact="0.371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3824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r" for="ch" forName="parTx4" refType="w" fact="0.3006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311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r" for="ch" forName="parTx5" refType="w" fact="0.2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2609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r" for="ch" forName="parTx6" refType="w" fact="0.2212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2321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r" for="ch" forName="parTx7" refType="w" fact="0.205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2164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else>
        </dgm:choose>
      </dgm:else>
    </dgm:choose>
    <dgm:forEach name="wrapper" axis="self" ptType="parTrans">
      <dgm:forEach name="wrapper2" axis="self" ptType="sibTrans" st="2">
        <dgm:forEach name="imageRepeat" axis="self">
          <dgm:layoutNode name="imageRepeat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 axis="self"/>
          </dgm:layoutNode>
        </dgm:forEach>
      </dgm:forEach>
    </dgm:forEach>
    <dgm:choose name="Name72">
      <dgm:if name="Name73" axis="ch" ptType="node" func="cnt" op="gte" val="2">
        <dgm:layoutNode name="dot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4"/>
    </dgm:choose>
    <dgm:choose name="Name75">
      <dgm:if name="Name76" axis="ch" ptType="node" func="cnt" op="gte" val="3">
        <dgm:layoutNode name="dot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7"/>
    </dgm:choose>
    <dgm:choose name="Name78">
      <dgm:if name="Name79" axis="ch" ptType="node" func="cnt" op="gte" val="4">
        <dgm:layoutNode name="dot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0"/>
    </dgm:choose>
    <dgm:choose name="Name81">
      <dgm:if name="Name82" axis="ch" ptType="node" func="cnt" op="gte" val="5">
        <dgm:layoutNode name="dot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8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3"/>
    </dgm:choose>
    <dgm:choose name="Name84">
      <dgm:if name="Name85" axis="ch" ptType="node" func="cnt" op="gte" val="6">
        <dgm:layoutNode name="dot9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10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6"/>
    </dgm:choose>
    <dgm:choose name="Name87">
      <dgm:if name="Name88" axis="ch" ptType="node" func="cnt" op="gte" val="7">
        <dgm:layoutNode name="dot1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9"/>
    </dgm:choose>
    <dgm:choose name="Name90">
      <dgm:if name="Name91" axis="ch" ptType="node" func="cnt" op="gte" val="2">
        <dgm:layoutNode name="dotArrow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92"/>
    </dgm:choose>
    <dgm:forEach name="Name93" axis="ch" ptType="node" cnt="1">
      <dgm:layoutNode name="parTx1">
        <dgm:choose name="Name94">
          <dgm:if name="Name95" func="var" arg="dir" op="equ" val="norm">
            <dgm:alg type="tx">
              <dgm:param type="parTxLTRAlign" val="l"/>
              <dgm:param type="parTxRTLAlign" val="r"/>
            </dgm:alg>
          </dgm:if>
          <dgm:else name="Name96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97">
          <dgm:if name="Name98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99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00">
        <dgm:if name="Name101" axis="ch" ptType="node" func="cnt" op="gte" val="1">
          <dgm:layoutNode name="desTx1" styleLbl="revTx">
            <dgm:varLst>
              <dgm:bulletEnabled val="1"/>
            </dgm:varLst>
            <dgm:choose name="Name102">
              <dgm:if name="Name103" func="var" arg="dir" op="equ" val="norm">
                <dgm:choose name="Name104">
                  <dgm:if name="Name105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06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07">
                <dgm:choose name="Name108">
                  <dgm:if name="Name109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10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11"/>
      </dgm:choose>
    </dgm:forEach>
    <dgm:forEach name="Name112" axis="ch" ptType="sibTrans" hideLastTrans="0" cnt="1">
      <dgm:layoutNode name="picture1">
        <dgm:alg type="sp"/>
        <dgm:shape xmlns:r="http://schemas.openxmlformats.org/officeDocument/2006/relationships" r:blip="">
          <dgm:adjLst/>
        </dgm:shape>
        <dgm:presOf/>
        <dgm:constrLst/>
        <dgm:forEach name="Name113" ref="imageRepeat"/>
      </dgm:layoutNode>
    </dgm:forEach>
    <dgm:forEach name="Name114" axis="ch" ptType="node" st="2" cnt="1">
      <dgm:layoutNode name="parTx2">
        <dgm:choose name="Name115">
          <dgm:if name="Name116" func="var" arg="dir" op="equ" val="norm">
            <dgm:alg type="tx">
              <dgm:param type="parTxLTRAlign" val="l"/>
              <dgm:param type="parTxRTLAlign" val="r"/>
            </dgm:alg>
          </dgm:if>
          <dgm:else name="Name117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18">
          <dgm:if name="Name119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20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21">
        <dgm:if name="Name122" axis="ch" ptType="node" func="cnt" op="gte" val="1">
          <dgm:layoutNode name="desTx2" styleLbl="revTx">
            <dgm:varLst>
              <dgm:bulletEnabled val="1"/>
            </dgm:varLst>
            <dgm:choose name="Name123">
              <dgm:if name="Name124" func="var" arg="dir" op="equ" val="norm">
                <dgm:choose name="Name125">
                  <dgm:if name="Name126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27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28">
                <dgm:choose name="Name129">
                  <dgm:if name="Name130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31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32"/>
      </dgm:choose>
    </dgm:forEach>
    <dgm:forEach name="Name133" axis="ch" ptType="sibTrans" hideLastTrans="0" st="2" cnt="1">
      <dgm:layoutNode name="picture2">
        <dgm:alg type="sp"/>
        <dgm:shape xmlns:r="http://schemas.openxmlformats.org/officeDocument/2006/relationships" r:blip="">
          <dgm:adjLst/>
        </dgm:shape>
        <dgm:presOf/>
        <dgm:constrLst/>
        <dgm:forEach name="Name134" ref="imageRepeat"/>
      </dgm:layoutNode>
    </dgm:forEach>
    <dgm:forEach name="Name135" axis="ch" ptType="node" st="3" cnt="1">
      <dgm:layoutNode name="parTx3">
        <dgm:choose name="Name136">
          <dgm:if name="Name137" func="var" arg="dir" op="equ" val="norm">
            <dgm:alg type="tx">
              <dgm:param type="parTxLTRAlign" val="l"/>
              <dgm:param type="parTxRTLAlign" val="r"/>
            </dgm:alg>
          </dgm:if>
          <dgm:else name="Name138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39">
          <dgm:if name="Name140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41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42">
        <dgm:if name="Name143" axis="ch" ptType="node" func="cnt" op="gte" val="1">
          <dgm:layoutNode name="desTx3" styleLbl="revTx">
            <dgm:varLst>
              <dgm:bulletEnabled val="1"/>
            </dgm:varLst>
            <dgm:choose name="Name144">
              <dgm:if name="Name145" func="var" arg="dir" op="equ" val="norm">
                <dgm:choose name="Name146">
                  <dgm:if name="Name147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48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49">
                <dgm:choose name="Name150">
                  <dgm:if name="Name151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5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53"/>
      </dgm:choose>
    </dgm:forEach>
    <dgm:forEach name="Name154" axis="ch" ptType="sibTrans" hideLastTrans="0" st="3" cnt="1">
      <dgm:layoutNode name="picture3">
        <dgm:alg type="sp"/>
        <dgm:shape xmlns:r="http://schemas.openxmlformats.org/officeDocument/2006/relationships" r:blip="">
          <dgm:adjLst/>
        </dgm:shape>
        <dgm:presOf/>
        <dgm:constrLst/>
        <dgm:forEach name="Name155" ref="imageRepeat"/>
      </dgm:layoutNode>
    </dgm:forEach>
    <dgm:forEach name="Name156" axis="ch" ptType="node" st="4" cnt="1">
      <dgm:layoutNode name="parTx4">
        <dgm:choose name="Name157">
          <dgm:if name="Name158" func="var" arg="dir" op="equ" val="norm">
            <dgm:alg type="tx">
              <dgm:param type="parTxLTRAlign" val="l"/>
              <dgm:param type="parTxRTLAlign" val="r"/>
            </dgm:alg>
          </dgm:if>
          <dgm:else name="Name159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60">
          <dgm:if name="Name161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62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63">
        <dgm:if name="Name164" axis="ch" ptType="node" func="cnt" op="gte" val="1">
          <dgm:layoutNode name="desTx4" styleLbl="revTx">
            <dgm:varLst>
              <dgm:bulletEnabled val="1"/>
            </dgm:varLst>
            <dgm:choose name="Name165">
              <dgm:if name="Name166" func="var" arg="dir" op="equ" val="norm">
                <dgm:choose name="Name167">
                  <dgm:if name="Name168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69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70">
                <dgm:choose name="Name171">
                  <dgm:if name="Name172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73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74"/>
      </dgm:choose>
    </dgm:forEach>
    <dgm:forEach name="Name175" axis="ch" ptType="sibTrans" hideLastTrans="0" st="4" cnt="1">
      <dgm:layoutNode name="picture4">
        <dgm:alg type="sp"/>
        <dgm:shape xmlns:r="http://schemas.openxmlformats.org/officeDocument/2006/relationships" r:blip="">
          <dgm:adjLst/>
        </dgm:shape>
        <dgm:presOf/>
        <dgm:constrLst/>
        <dgm:forEach name="Name176" ref="imageRepeat"/>
      </dgm:layoutNode>
    </dgm:forEach>
    <dgm:forEach name="Name177" axis="ch" ptType="node" st="5" cnt="1">
      <dgm:layoutNode name="parTx5">
        <dgm:choose name="Name178">
          <dgm:if name="Name179" func="var" arg="dir" op="equ" val="norm">
            <dgm:alg type="tx">
              <dgm:param type="parTxLTRAlign" val="l"/>
              <dgm:param type="parTxRTLAlign" val="r"/>
            </dgm:alg>
          </dgm:if>
          <dgm:else name="Name180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81">
          <dgm:if name="Name182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83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84">
        <dgm:if name="Name185" axis="ch" ptType="node" func="cnt" op="gte" val="1">
          <dgm:layoutNode name="desTx5" styleLbl="revTx">
            <dgm:varLst>
              <dgm:bulletEnabled val="1"/>
            </dgm:varLst>
            <dgm:choose name="Name186">
              <dgm:if name="Name187" func="var" arg="dir" op="equ" val="norm">
                <dgm:choose name="Name188">
                  <dgm:if name="Name189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90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91">
                <dgm:choose name="Name192">
                  <dgm:if name="Name193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94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95"/>
      </dgm:choose>
    </dgm:forEach>
    <dgm:forEach name="Name196" axis="ch" ptType="sibTrans" hideLastTrans="0" st="5" cnt="1">
      <dgm:layoutNode name="picture5">
        <dgm:alg type="sp"/>
        <dgm:shape xmlns:r="http://schemas.openxmlformats.org/officeDocument/2006/relationships" r:blip="">
          <dgm:adjLst/>
        </dgm:shape>
        <dgm:presOf/>
        <dgm:constrLst/>
        <dgm:forEach name="Name197" ref="imageRepeat"/>
      </dgm:layoutNode>
    </dgm:forEach>
    <dgm:forEach name="Name198" axis="ch" ptType="node" st="6" cnt="1">
      <dgm:layoutNode name="parTx6">
        <dgm:choose name="Name199">
          <dgm:if name="Name200" func="var" arg="dir" op="equ" val="norm">
            <dgm:alg type="tx">
              <dgm:param type="parTxLTRAlign" val="l"/>
              <dgm:param type="parTxRTLAlign" val="r"/>
            </dgm:alg>
          </dgm:if>
          <dgm:else name="Name201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02">
          <dgm:if name="Name203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04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05">
        <dgm:if name="Name206" axis="ch" ptType="node" func="cnt" op="gte" val="1">
          <dgm:layoutNode name="desTx6" styleLbl="revTx">
            <dgm:varLst>
              <dgm:bulletEnabled val="1"/>
            </dgm:varLst>
            <dgm:choose name="Name207">
              <dgm:if name="Name208" func="var" arg="dir" op="equ" val="norm">
                <dgm:choose name="Name209">
                  <dgm:if name="Name210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11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12">
                <dgm:choose name="Name213">
                  <dgm:if name="Name214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15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16"/>
      </dgm:choose>
    </dgm:forEach>
    <dgm:forEach name="Name217" axis="ch" ptType="sibTrans" hideLastTrans="0" st="6" cnt="1">
      <dgm:layoutNode name="picture6">
        <dgm:alg type="sp"/>
        <dgm:shape xmlns:r="http://schemas.openxmlformats.org/officeDocument/2006/relationships" r:blip="">
          <dgm:adjLst/>
        </dgm:shape>
        <dgm:presOf/>
        <dgm:constrLst/>
        <dgm:forEach name="Name218" ref="imageRepeat"/>
      </dgm:layoutNode>
    </dgm:forEach>
    <dgm:forEach name="Name219" axis="ch" ptType="node" st="7" cnt="1">
      <dgm:layoutNode name="parTx7">
        <dgm:choose name="Name220">
          <dgm:if name="Name221" func="var" arg="dir" op="equ" val="norm">
            <dgm:alg type="tx">
              <dgm:param type="parTxLTRAlign" val="l"/>
              <dgm:param type="parTxRTLAlign" val="r"/>
            </dgm:alg>
          </dgm:if>
          <dgm:else name="Name222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23">
          <dgm:if name="Name224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25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26">
        <dgm:if name="Name227" axis="ch" ptType="node" func="cnt" op="gte" val="1">
          <dgm:layoutNode name="desTx7" styleLbl="revTx">
            <dgm:varLst>
              <dgm:bulletEnabled val="1"/>
            </dgm:varLst>
            <dgm:choose name="Name228">
              <dgm:if name="Name229" func="var" arg="dir" op="equ" val="norm">
                <dgm:choose name="Name230">
                  <dgm:if name="Name231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32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33">
                <dgm:choose name="Name234">
                  <dgm:if name="Name235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36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37"/>
      </dgm:choose>
    </dgm:forEach>
    <dgm:forEach name="Name238" axis="ch" ptType="sibTrans" hideLastTrans="0" st="7" cnt="1">
      <dgm:layoutNode name="picture7">
        <dgm:alg type="sp"/>
        <dgm:shape xmlns:r="http://schemas.openxmlformats.org/officeDocument/2006/relationships" r:blip="">
          <dgm:adjLst/>
        </dgm:shape>
        <dgm:presOf/>
        <dgm:constrLst/>
        <dgm:forEach name="Name239" ref="imageRepeat"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No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3787140" y="6052567"/>
            <a:ext cx="8040793" cy="443199"/>
          </a:xfrm>
        </p:spPr>
        <p:txBody>
          <a:bodyPr wrap="square">
            <a:spAutoFit/>
          </a:bodyPr>
          <a:lstStyle>
            <a:lvl1pPr marL="0" indent="0" algn="r">
              <a:buNone/>
              <a:defRPr sz="3200" b="0"/>
            </a:lvl1pPr>
          </a:lstStyle>
          <a:p>
            <a:r>
              <a:rPr lang="en-US" noProof="0"/>
              <a:t>Subtitle</a:t>
            </a:r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51744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Insert photo 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87140" y="5424000"/>
            <a:ext cx="8035531" cy="590931"/>
          </a:xfrm>
        </p:spPr>
        <p:txBody>
          <a:bodyPr anchor="b"/>
          <a:lstStyle>
            <a:lvl1pPr algn="r">
              <a:defRPr sz="4267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Title</a:t>
            </a:r>
            <a:endParaRPr lang="en-US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3572424" y="5505577"/>
            <a:ext cx="0" cy="10032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199" y="5867894"/>
            <a:ext cx="3065653" cy="34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563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A52DF73D-0920-4A79-BF37-728C05235B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1567D-B59D-411F-9495-D8FDF43E0D02}" type="datetimeFigureOut">
              <a:rPr lang="es-PA" smtClean="0"/>
              <a:t>06/03/2022</a:t>
            </a:fld>
            <a:endParaRPr lang="es-PA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DFB668EF-0536-47C9-9784-15B87A71E1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A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BF74EC0-B180-41DD-B5EA-790A859296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CB7245-9689-4D40-881A-57CF356E71F6}" type="slidenum">
              <a:rPr lang="es-PA" smtClean="0"/>
              <a:t>‹Nº›</a:t>
            </a:fld>
            <a:endParaRPr lang="es-PA"/>
          </a:p>
        </p:txBody>
      </p:sp>
    </p:spTree>
    <p:extLst>
      <p:ext uri="{BB962C8B-B14F-4D97-AF65-F5344CB8AC3E}">
        <p14:creationId xmlns:p14="http://schemas.microsoft.com/office/powerpoint/2010/main" val="37654654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4259289" y="6305449"/>
            <a:ext cx="7568644" cy="332399"/>
          </a:xfrm>
        </p:spPr>
        <p:txBody>
          <a:bodyPr wrap="square">
            <a:spAutoFit/>
          </a:bodyPr>
          <a:lstStyle>
            <a:lvl1pPr marL="0" indent="0" algn="r">
              <a:buNone/>
              <a:defRPr sz="2400" b="0"/>
            </a:lvl1pPr>
          </a:lstStyle>
          <a:p>
            <a:pPr lvl="0"/>
            <a:r>
              <a:rPr lang="fr-FR" err="1"/>
              <a:t>Subtitle</a:t>
            </a:r>
            <a:endParaRPr lang="fr-FR"/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92483"/>
            <a:ext cx="12192000" cy="5174400"/>
          </a:xfrm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fr-FR"/>
              <a:t>Insert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58850" y="5750748"/>
            <a:ext cx="7563821" cy="517064"/>
          </a:xfrm>
        </p:spPr>
        <p:txBody>
          <a:bodyPr anchor="b"/>
          <a:lstStyle>
            <a:lvl1pPr algn="r">
              <a:defRPr sz="3733">
                <a:solidFill>
                  <a:schemeClr val="tx2"/>
                </a:solidFill>
              </a:defRPr>
            </a:lvl1pPr>
          </a:lstStyle>
          <a:p>
            <a:r>
              <a:rPr lang="fr-FR" err="1"/>
              <a:t>Tit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797457" y="92786"/>
            <a:ext cx="5030475" cy="292100"/>
          </a:xfrm>
        </p:spPr>
        <p:txBody>
          <a:bodyPr anchor="ctr" anchorCtr="0"/>
          <a:lstStyle>
            <a:lvl1pPr marL="0" indent="0" algn="r">
              <a:buNone/>
              <a:defRPr lang="en-US" sz="1333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333" b="0" dirty="0" smtClean="0"/>
            </a:lvl2pPr>
            <a:lvl3pPr>
              <a:defRPr lang="en-US" sz="1200" b="0" dirty="0" smtClean="0"/>
            </a:lvl3pPr>
            <a:lvl4pPr>
              <a:defRPr lang="en-US" sz="1067" b="0" dirty="0" smtClean="0"/>
            </a:lvl4pPr>
            <a:lvl5pPr>
              <a:defRPr lang="en-US" sz="1067" b="0" dirty="0" smtClean="0"/>
            </a:lvl5pPr>
          </a:lstStyle>
          <a:p>
            <a:pPr lvl="0"/>
            <a:r>
              <a:rPr lang="en-US"/>
              <a:t>Patient first name</a:t>
            </a:r>
            <a:r>
              <a:rPr lang="en-US">
                <a:latin typeface="Arial" panose="020B0604020202020204" pitchFamily="34" charset="0"/>
                <a:cs typeface="Arial" pitchFamily="34" charset="0"/>
                <a:sym typeface="Webdings"/>
              </a:rPr>
              <a:t>  </a:t>
            </a:r>
            <a:r>
              <a:rPr lang="en-US"/>
              <a:t>|  Disease |  Location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389463" y="5750748"/>
            <a:ext cx="3754603" cy="912000"/>
            <a:chOff x="292097" y="4313061"/>
            <a:chExt cx="2815952" cy="684000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654396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8367" y="1261979"/>
            <a:ext cx="11226800" cy="4999123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DAT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pecialty Care Public Affairs Roadmap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/>
              <a:t>‹Nº›</a:t>
            </a:fld>
            <a:endParaRPr lang="en-US"/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1FCA4FD-6628-4D3D-AE24-DDC12EBCEA8D}"/>
              </a:ext>
            </a:extLst>
          </p:cNvPr>
          <p:cNvCxnSpPr/>
          <p:nvPr userDrawn="1"/>
        </p:nvCxnSpPr>
        <p:spPr>
          <a:xfrm>
            <a:off x="478367" y="919976"/>
            <a:ext cx="112268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2440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8366" y="468699"/>
            <a:ext cx="11226801" cy="81240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8367" y="2150225"/>
            <a:ext cx="11226800" cy="4110876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DAT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pecialty Care Public Affairs Roadmap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/>
              <a:t>‹Nº›</a:t>
            </a:fld>
            <a:endParaRPr lang="en-US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9CD848D4-51F8-433D-8F72-27BEA6C0475B}"/>
              </a:ext>
            </a:extLst>
          </p:cNvPr>
          <p:cNvCxnSpPr/>
          <p:nvPr userDrawn="1"/>
        </p:nvCxnSpPr>
        <p:spPr>
          <a:xfrm>
            <a:off x="478367" y="1330067"/>
            <a:ext cx="112268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04622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DAT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pecialty Care Public Affairs Roadmap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/>
              <a:t>‹Nº›</a:t>
            </a:fld>
            <a:endParaRPr lang="en-US"/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9A1D8EE7-132A-4741-B8FE-D0618BAB6188}"/>
              </a:ext>
            </a:extLst>
          </p:cNvPr>
          <p:cNvCxnSpPr/>
          <p:nvPr userDrawn="1"/>
        </p:nvCxnSpPr>
        <p:spPr>
          <a:xfrm>
            <a:off x="478367" y="919976"/>
            <a:ext cx="112268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26026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8366" y="468699"/>
            <a:ext cx="11226801" cy="81240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DAT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pecialty Care Public Affairs Roadmap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/>
              <a:t>‹Nº›</a:t>
            </a:fld>
            <a:endParaRPr lang="en-US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9CD848D4-51F8-433D-8F72-27BEA6C0475B}"/>
              </a:ext>
            </a:extLst>
          </p:cNvPr>
          <p:cNvCxnSpPr/>
          <p:nvPr userDrawn="1"/>
        </p:nvCxnSpPr>
        <p:spPr>
          <a:xfrm>
            <a:off x="478367" y="1330067"/>
            <a:ext cx="112268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72533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2">
            <a:extLst>
              <a:ext uri="{FF2B5EF4-FFF2-40B4-BE49-F238E27FC236}">
                <a16:creationId xmlns:a16="http://schemas.microsoft.com/office/drawing/2014/main" id="{91057E6D-FD4B-4C2C-8356-5416703EB073}"/>
              </a:ext>
            </a:extLst>
          </p:cNvPr>
          <p:cNvGrpSpPr/>
          <p:nvPr userDrawn="1"/>
        </p:nvGrpSpPr>
        <p:grpSpPr>
          <a:xfrm>
            <a:off x="292098" y="5597770"/>
            <a:ext cx="3280327" cy="796799"/>
            <a:chOff x="292097" y="4313061"/>
            <a:chExt cx="2815952" cy="684000"/>
          </a:xfrm>
        </p:grpSpPr>
        <p:cxnSp>
          <p:nvCxnSpPr>
            <p:cNvPr id="14" name="Connecteur droit 13">
              <a:extLst>
                <a:ext uri="{FF2B5EF4-FFF2-40B4-BE49-F238E27FC236}">
                  <a16:creationId xmlns:a16="http://schemas.microsoft.com/office/drawing/2014/main" id="{BF65D1F1-ADB2-4B7B-816F-2203FDF50245}"/>
                </a:ext>
              </a:extLst>
            </p:cNvPr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noFill/>
            <a:ln w="19050" cap="flat" cmpd="sng" algn="ctr">
              <a:solidFill>
                <a:srgbClr val="6B747B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</p:cxnSp>
        <p:pic>
          <p:nvPicPr>
            <p:cNvPr id="15" name="Picture 2" descr="C:\Users\e0290066\Desktop\Brand\Sanofi Genzyme - RVB - Colors.png">
              <a:extLst>
                <a:ext uri="{FF2B5EF4-FFF2-40B4-BE49-F238E27FC236}">
                  <a16:creationId xmlns:a16="http://schemas.microsoft.com/office/drawing/2014/main" id="{F2B673F9-9E68-422B-9519-460D7BEAB915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47D5962E-043E-4DBD-97A9-67FE7CD309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0378267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99" imgH="300" progId="TCLayout.ActiveDocument.1">
                  <p:embed/>
                </p:oleObj>
              </mc:Choice>
              <mc:Fallback>
                <p:oleObj name="think-cell Slide" r:id="rId5" imgW="299" imgH="30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47D5962E-043E-4DBD-97A9-67FE7CD309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7091779-3075-4327-9F0D-C55199FC809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267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3796938" y="6052568"/>
            <a:ext cx="8030996" cy="451405"/>
          </a:xfrm>
        </p:spPr>
        <p:txBody>
          <a:bodyPr wrap="square">
            <a:spAutoFit/>
          </a:bodyPr>
          <a:lstStyle>
            <a:lvl1pPr marL="0" indent="0" algn="r">
              <a:buNone/>
              <a:defRPr sz="3200" b="0"/>
            </a:lvl1pPr>
          </a:lstStyle>
          <a:p>
            <a:pPr lvl="0"/>
            <a:r>
              <a:rPr lang="en-US" noProof="0"/>
              <a:t>Subtitle, 24 pts</a:t>
            </a:r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5174400"/>
          </a:xfrm>
        </p:spPr>
        <p:txBody>
          <a:bodyPr/>
          <a:lstStyle/>
          <a:p>
            <a:r>
              <a:rPr lang="en-US" noProof="0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96939" y="5413057"/>
            <a:ext cx="8025733" cy="601875"/>
          </a:xfrm>
        </p:spPr>
        <p:txBody>
          <a:bodyPr anchor="b"/>
          <a:lstStyle>
            <a:lvl1pPr algn="r">
              <a:defRPr sz="4267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Presentation title, 32 pts</a:t>
            </a:r>
          </a:p>
        </p:txBody>
      </p:sp>
    </p:spTree>
    <p:extLst>
      <p:ext uri="{BB962C8B-B14F-4D97-AF65-F5344CB8AC3E}">
        <p14:creationId xmlns:p14="http://schemas.microsoft.com/office/powerpoint/2010/main" val="1114158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0072693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8367" y="475601"/>
            <a:ext cx="11226800" cy="406265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ext slide - 1 column, 28 </a:t>
            </a:r>
            <a:r>
              <a:rPr lang="en-US" noProof="0" err="1"/>
              <a:t>pts</a:t>
            </a:r>
            <a:endParaRPr lang="en-US" noProof="0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8370" y="1295403"/>
            <a:ext cx="11226801" cy="4965700"/>
          </a:xfrm>
        </p:spPr>
        <p:txBody>
          <a:bodyPr/>
          <a:lstStyle>
            <a:lvl1pPr>
              <a:lnSpc>
                <a:spcPct val="100000"/>
              </a:lnSpc>
              <a:defRPr baseline="0"/>
            </a:lvl1pPr>
            <a:lvl2pPr>
              <a:lnSpc>
                <a:spcPct val="100000"/>
              </a:lnSpc>
              <a:defRPr/>
            </a:lvl2pPr>
            <a:lvl3pPr marL="537607" indent="-177792">
              <a:lnSpc>
                <a:spcPct val="100000"/>
              </a:lnSpc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/>
              <a:t>Text 1st level, 18 </a:t>
            </a:r>
            <a:r>
              <a:rPr lang="en-US" noProof="0" err="1"/>
              <a:t>pts</a:t>
            </a:r>
            <a:endParaRPr lang="en-US" noProof="0"/>
          </a:p>
          <a:p>
            <a:pPr lvl="1"/>
            <a:r>
              <a:rPr lang="en-US" noProof="0"/>
              <a:t>Text 2nd level, 16 </a:t>
            </a:r>
            <a:r>
              <a:rPr lang="en-US" noProof="0" err="1"/>
              <a:t>pts</a:t>
            </a:r>
            <a:endParaRPr lang="en-US" noProof="0"/>
          </a:p>
          <a:p>
            <a:pPr lvl="2"/>
            <a:r>
              <a:rPr lang="en-US" noProof="0"/>
              <a:t>Text 3rd level, 14 </a:t>
            </a:r>
            <a:r>
              <a:rPr lang="en-US" noProof="0" err="1"/>
              <a:t>pts</a:t>
            </a:r>
            <a:endParaRPr lang="en-US" noProof="0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Nº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3327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2378A4-478E-46F7-9E67-D9ACA08910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4389646-A791-4F0D-A07D-22B545AE193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64FC2E5-3AB9-421B-9A59-877AC8E288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AEE023-2681-4B89-A1C4-1E2966F28BD1}" type="datetimeFigureOut">
              <a:rPr lang="es-CO" smtClean="0"/>
              <a:t>3/06/2022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AA5C26A8-F44D-4D00-8805-370D35818B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0B516A6-8FD2-457C-B1B7-33A942AF1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BCEEB-CECF-451B-BA7C-66EAB0C4D6B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331717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4ACFE34-C865-4776-AE0D-59AE9C2D1D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23992415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70" imgH="469" progId="TCLayout.ActiveDocument.1">
                  <p:embed/>
                </p:oleObj>
              </mc:Choice>
              <mc:Fallback>
                <p:oleObj name="think-cell Slide" r:id="rId13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4ACFE34-C865-4776-AE0D-59AE9C2D1D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8366" y="475826"/>
            <a:ext cx="11226801" cy="406265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8367" y="1782508"/>
            <a:ext cx="11226800" cy="44785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/>
              <a:t>Texte 1er niveau, corps 20</a:t>
            </a:r>
          </a:p>
          <a:p>
            <a:pPr lvl="1"/>
            <a:r>
              <a:rPr lang="fr-FR"/>
              <a:t>Texte 2e niveau, corps 18</a:t>
            </a:r>
          </a:p>
          <a:p>
            <a:pPr lvl="2"/>
            <a:r>
              <a:rPr lang="fr-FR"/>
              <a:t>Texte 3e niveau, corps 16</a:t>
            </a: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74201" y="6441567"/>
            <a:ext cx="6043601" cy="16414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ctr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pecialty Care Public Affairs Roadmap</a:t>
            </a: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>
          <a:xfrm>
            <a:off x="10284664" y="6441567"/>
            <a:ext cx="1035587" cy="16414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067">
                <a:solidFill>
                  <a:schemeClr val="tx1"/>
                </a:solidFill>
              </a:defRPr>
            </a:lvl1pPr>
          </a:lstStyle>
          <a:p>
            <a:r>
              <a:rPr lang="fr-FR"/>
              <a:t>DATE</a:t>
            </a:r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9993" y="6441567"/>
            <a:ext cx="414748" cy="16414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067">
                <a:solidFill>
                  <a:schemeClr val="tx1"/>
                </a:solidFill>
              </a:defRPr>
            </a:lvl1pPr>
          </a:lstStyle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cxnSp>
        <p:nvCxnSpPr>
          <p:cNvPr id="29" name="Connecteur droit 28"/>
          <p:cNvCxnSpPr/>
          <p:nvPr/>
        </p:nvCxnSpPr>
        <p:spPr>
          <a:xfrm>
            <a:off x="11944351" y="6523640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>
            <a:off x="11434233" y="6460140"/>
            <a:ext cx="0" cy="135467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C:\Users\e0290066\Desktop\Brand\Sanofi Genzyme - RVB - Colors.png"/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8365" y="6387396"/>
            <a:ext cx="2374287" cy="27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7949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933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57708" indent="-357708" algn="l" defTabSz="914377" rtl="0" eaLnBrk="1" latinLnBrk="0" hangingPunct="1">
        <a:lnSpc>
          <a:spcPct val="90000"/>
        </a:lnSpc>
        <a:spcBef>
          <a:spcPts val="2400"/>
        </a:spcBef>
        <a:buClr>
          <a:schemeClr val="bg2"/>
        </a:buClr>
        <a:buSzPct val="75000"/>
        <a:buFont typeface="Wingdings" panose="05000000000000000000" pitchFamily="2" charset="2"/>
        <a:buChar char="l"/>
        <a:tabLst/>
        <a:defRPr sz="2400" b="0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715415" indent="-357708" algn="l" defTabSz="914377" rtl="0" eaLnBrk="1" latinLnBrk="0" hangingPunct="1">
        <a:lnSpc>
          <a:spcPct val="90000"/>
        </a:lnSpc>
        <a:spcBef>
          <a:spcPts val="500"/>
        </a:spcBef>
        <a:buClrTx/>
        <a:buSzPct val="75000"/>
        <a:buFont typeface="Wingdings" panose="05000000000000000000" pitchFamily="2" charset="2"/>
        <a:buChar char="à"/>
        <a:tabLst/>
        <a:defRPr sz="2133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58827" indent="-243411" algn="l" defTabSz="914377" rtl="0" eaLnBrk="1" latinLnBrk="0" hangingPunct="1">
        <a:lnSpc>
          <a:spcPct val="90000"/>
        </a:lnSpc>
        <a:spcBef>
          <a:spcPts val="500"/>
        </a:spcBef>
        <a:buClrTx/>
        <a:buSzPct val="65000"/>
        <a:buFont typeface="Wingdings" panose="05000000000000000000" pitchFamily="2" charset="2"/>
        <a:buChar char="l"/>
        <a:tabLst/>
        <a:defRPr sz="1867" kern="1200" baseline="0">
          <a:solidFill>
            <a:schemeClr val="accent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6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622">
          <p15:clr>
            <a:srgbClr val="F26B43"/>
          </p15:clr>
        </p15:guide>
        <p15:guide id="5" pos="5530">
          <p15:clr>
            <a:srgbClr val="F26B43"/>
          </p15:clr>
        </p15:guide>
        <p15:guide id="6" pos="2880">
          <p15:clr>
            <a:srgbClr val="F26B43"/>
          </p15:clr>
        </p15:guide>
        <p15:guide id="7" orient="horz" pos="860">
          <p15:clr>
            <a:srgbClr val="F26B43"/>
          </p15:clr>
        </p15:guide>
        <p15:guide id="8" orient="horz" pos="781">
          <p15:clr>
            <a:srgbClr val="F26B43"/>
          </p15:clr>
        </p15:guide>
        <p15:guide id="9" orient="horz" pos="29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3" Type="http://schemas.openxmlformats.org/officeDocument/2006/relationships/image" Target="../media/image10.png"/><Relationship Id="rId7" Type="http://schemas.openxmlformats.org/officeDocument/2006/relationships/hyperlink" Target="https://www3.paho.org/hq/index.php?option=com_content&amp;view=article&amp;id=9737&amp;Itemid=40690&amp;lang=es" TargetMode="External"/><Relationship Id="rId12" Type="http://schemas.microsoft.com/office/2007/relationships/diagramDrawing" Target="../diagrams/drawing1.xml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3.paho.org/hq/index.php?option=com_content&amp;view=article&amp;id=9741&amp;Itemid=40690&amp;lang=es" TargetMode="External"/><Relationship Id="rId11" Type="http://schemas.openxmlformats.org/officeDocument/2006/relationships/diagramColors" Target="../diagrams/colors1.xml"/><Relationship Id="rId5" Type="http://schemas.openxmlformats.org/officeDocument/2006/relationships/hyperlink" Target="https://www3.paho.org/hq/index.php?option=com_content&amp;view=article&amp;id=9771&amp;Itemid=40690&amp;lang=es" TargetMode="External"/><Relationship Id="rId10" Type="http://schemas.openxmlformats.org/officeDocument/2006/relationships/diagramQuickStyle" Target="../diagrams/quickStyle1.xml"/><Relationship Id="rId4" Type="http://schemas.openxmlformats.org/officeDocument/2006/relationships/hyperlink" Target="https://www3.paho.org/hq/index.php?option=com_content&amp;view=article&amp;id=9772&amp;Itemid=40690&amp;lang=es" TargetMode="External"/><Relationship Id="rId9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3.paho.org/hq/index.php?option=com_content&amp;view=article&amp;id=9772&amp;Itemid=40690&amp;lang=es" TargetMode="External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3.paho.org/hq/index.php?option=com_content&amp;view=article&amp;id=9771&amp;Itemid=40690&amp;lang=es" TargetMode="External"/><Relationship Id="rId7" Type="http://schemas.microsoft.com/office/2007/relationships/hdphoto" Target="../media/hdphoto1.wdp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3.paho.org/hq/index.php?option=com_content&amp;view=article&amp;id=9741&amp;Itemid=40690&amp;lang=es" TargetMode="External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3.paho.org/hq/index.php?option=com_content&amp;view=article&amp;id=9737&amp;Itemid=40690&amp;lang=es" TargetMode="External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9.xml"/><Relationship Id="rId5" Type="http://schemas.microsoft.com/office/2007/relationships/hdphoto" Target="../media/hdphoto1.wdp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51E3C40B-9377-4698-BF8D-BB353F936897}"/>
              </a:ext>
            </a:extLst>
          </p:cNvPr>
          <p:cNvSpPr txBox="1"/>
          <p:nvPr/>
        </p:nvSpPr>
        <p:spPr>
          <a:xfrm>
            <a:off x="2787097" y="3075057"/>
            <a:ext cx="661780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ro Black Caps" panose="02000000000000000000" pitchFamily="50" charset="0"/>
                <a:ea typeface="+mn-ea"/>
                <a:cs typeface="+mn-cs"/>
              </a:rPr>
              <a:t>NOMBRE CONFERENCIA</a:t>
            </a:r>
            <a:endParaRPr kumimoji="0" lang="es-CO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ro Black Caps" panose="02000000000000000000" pitchFamily="50" charset="0"/>
              <a:ea typeface="+mn-ea"/>
              <a:cs typeface="+mn-cs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A25FB256-B4EC-4AA0-B8F1-5CA3DEDA230C}"/>
              </a:ext>
            </a:extLst>
          </p:cNvPr>
          <p:cNvSpPr txBox="1"/>
          <p:nvPr/>
        </p:nvSpPr>
        <p:spPr>
          <a:xfrm>
            <a:off x="2980082" y="3987102"/>
            <a:ext cx="62318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NOMBRE CONFERENCISTA</a:t>
            </a:r>
            <a:endParaRPr kumimoji="0" lang="es-CO" sz="3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7AF61B02-A4E2-4D35-A0A6-3B30A0D8E5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95D94B5D-B605-4E1F-B37E-AF30399005DA}"/>
              </a:ext>
            </a:extLst>
          </p:cNvPr>
          <p:cNvSpPr txBox="1"/>
          <p:nvPr/>
        </p:nvSpPr>
        <p:spPr>
          <a:xfrm>
            <a:off x="593863" y="247616"/>
            <a:ext cx="849386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4000" b="1" i="0" u="none" strike="noStrike" kern="1200" cap="none" spc="0" normalizeH="0" baseline="0" noProof="0" dirty="0">
                <a:ln>
                  <a:noFill/>
                </a:ln>
                <a:solidFill>
                  <a:srgbClr val="3E90D0">
                    <a:lumMod val="50000"/>
                  </a:srgbClr>
                </a:solidFill>
                <a:effectLst/>
                <a:uLnTx/>
                <a:uFillTx/>
                <a:latin typeface="Intro Black Caps" panose="02000000000000000000" pitchFamily="50" charset="0"/>
                <a:ea typeface="+mn-ea"/>
                <a:cs typeface="+mn-cs"/>
              </a:rPr>
              <a:t>Acceso y cobertura universal de salu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3200" b="1" i="0" u="none" strike="noStrike" kern="1200" cap="none" spc="0" normalizeH="0" baseline="0" noProof="0" dirty="0">
                <a:ln>
                  <a:noFill/>
                </a:ln>
                <a:solidFill>
                  <a:srgbClr val="3E90D0">
                    <a:lumMod val="50000"/>
                  </a:srgbClr>
                </a:solidFill>
                <a:effectLst/>
                <a:uLnTx/>
                <a:uFillTx/>
                <a:latin typeface="Intro Black Caps" panose="02000000000000000000" pitchFamily="50" charset="0"/>
                <a:ea typeface="+mn-ea"/>
                <a:cs typeface="+mn-cs"/>
              </a:rPr>
              <a:t>Definición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9FDFE2CF-9D45-4045-9539-92BDF35CD6A4}"/>
              </a:ext>
            </a:extLst>
          </p:cNvPr>
          <p:cNvSpPr txBox="1"/>
          <p:nvPr/>
        </p:nvSpPr>
        <p:spPr>
          <a:xfrm>
            <a:off x="593863" y="3182525"/>
            <a:ext cx="11383942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2400" b="0" i="0" u="none" strike="noStrike" kern="1200" cap="none" spc="0" normalizeH="0" baseline="0" noProof="0" dirty="0">
                <a:ln>
                  <a:noFill/>
                </a:ln>
                <a:solidFill>
                  <a:srgbClr val="3E90D0">
                    <a:lumMod val="50000"/>
                  </a:srgb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El acceso universal a la salud y la cobertura universal de salud implican que todas las personas y las comunidades tengan acceso, </a:t>
            </a:r>
            <a:r>
              <a:rPr kumimoji="0" lang="es-CO" sz="2400" b="1" i="0" u="none" strike="noStrike" kern="1200" cap="none" spc="0" normalizeH="0" baseline="0" noProof="0" dirty="0">
                <a:ln>
                  <a:noFill/>
                </a:ln>
                <a:solidFill>
                  <a:srgbClr val="3E90D0">
                    <a:lumMod val="50000"/>
                  </a:srgb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sin discriminación </a:t>
            </a:r>
            <a:r>
              <a:rPr kumimoji="0" lang="es-CO" sz="2400" b="0" i="0" u="none" strike="noStrike" kern="1200" cap="none" spc="0" normalizeH="0" baseline="0" noProof="0" dirty="0">
                <a:ln>
                  <a:noFill/>
                </a:ln>
                <a:solidFill>
                  <a:srgbClr val="3E90D0">
                    <a:lumMod val="50000"/>
                  </a:srgb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alguna, a </a:t>
            </a:r>
            <a:r>
              <a:rPr kumimoji="0" lang="es-CO" sz="2400" b="1" i="0" u="none" strike="noStrike" kern="1200" cap="none" spc="0" normalizeH="0" baseline="0" noProof="0" dirty="0">
                <a:ln>
                  <a:noFill/>
                </a:ln>
                <a:solidFill>
                  <a:srgbClr val="3E90D0">
                    <a:lumMod val="50000"/>
                  </a:srgb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servicios integrales de salud</a:t>
            </a:r>
            <a:r>
              <a:rPr kumimoji="0" lang="es-CO" sz="2400" b="0" i="0" u="none" strike="noStrike" kern="1200" cap="none" spc="0" normalizeH="0" baseline="0" noProof="0" dirty="0">
                <a:ln>
                  <a:noFill/>
                </a:ln>
                <a:solidFill>
                  <a:srgbClr val="3E90D0">
                    <a:lumMod val="50000"/>
                  </a:srgb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, </a:t>
            </a:r>
            <a:r>
              <a:rPr kumimoji="0" lang="es-CO" sz="2400" b="1" i="0" u="none" strike="noStrike" kern="1200" cap="none" spc="0" normalizeH="0" baseline="0" noProof="0" dirty="0">
                <a:ln>
                  <a:noFill/>
                </a:ln>
                <a:solidFill>
                  <a:srgbClr val="3E90D0">
                    <a:lumMod val="50000"/>
                  </a:srgb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adecuados, oportunos, de calidad</a:t>
            </a:r>
            <a:r>
              <a:rPr kumimoji="0" lang="es-CO" sz="2400" b="0" i="0" u="none" strike="noStrike" kern="1200" cap="none" spc="0" normalizeH="0" baseline="0" noProof="0" dirty="0">
                <a:ln>
                  <a:noFill/>
                </a:ln>
                <a:solidFill>
                  <a:srgbClr val="3E90D0">
                    <a:lumMod val="50000"/>
                  </a:srgb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, determinados a nivel nacional, de acuerdo con las necesidades, así como a </a:t>
            </a:r>
            <a:r>
              <a:rPr kumimoji="0" lang="es-CO" sz="2400" b="1" i="0" u="none" strike="noStrike" kern="1200" cap="none" spc="0" normalizeH="0" baseline="0" noProof="0" dirty="0">
                <a:ln>
                  <a:noFill/>
                </a:ln>
                <a:solidFill>
                  <a:srgbClr val="3E90D0">
                    <a:lumMod val="50000"/>
                  </a:srgb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medicamentos de calidad, seguros, eficaces y asequibles</a:t>
            </a:r>
            <a:r>
              <a:rPr kumimoji="0" lang="es-CO" sz="2400" b="0" i="0" u="none" strike="noStrike" kern="1200" cap="none" spc="0" normalizeH="0" baseline="0" noProof="0" dirty="0">
                <a:ln>
                  <a:noFill/>
                </a:ln>
                <a:solidFill>
                  <a:srgbClr val="3E90D0">
                    <a:lumMod val="50000"/>
                  </a:srgb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, a la vez que se asegura que el uso de esos servicios </a:t>
            </a:r>
            <a:r>
              <a:rPr kumimoji="0" lang="es-CO" sz="2400" b="1" i="0" u="none" strike="noStrike" kern="1200" cap="none" spc="0" normalizeH="0" baseline="0" noProof="0" dirty="0">
                <a:ln>
                  <a:noFill/>
                </a:ln>
                <a:solidFill>
                  <a:srgbClr val="3E90D0">
                    <a:lumMod val="50000"/>
                  </a:srgb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no expone a los usuarios a dificultades financieras</a:t>
            </a:r>
            <a:r>
              <a:rPr kumimoji="0" lang="es-CO" sz="2400" b="0" i="0" u="none" strike="noStrike" kern="1200" cap="none" spc="0" normalizeH="0" baseline="0" noProof="0" dirty="0">
                <a:ln>
                  <a:noFill/>
                </a:ln>
                <a:solidFill>
                  <a:srgbClr val="3E90D0">
                    <a:lumMod val="50000"/>
                  </a:srgb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, en particular los </a:t>
            </a:r>
            <a:r>
              <a:rPr kumimoji="0" lang="es-CO" sz="2400" b="1" i="0" u="none" strike="noStrike" kern="1200" cap="none" spc="0" normalizeH="0" baseline="0" noProof="0" dirty="0">
                <a:ln>
                  <a:noFill/>
                </a:ln>
                <a:solidFill>
                  <a:srgbClr val="3E90D0">
                    <a:lumMod val="50000"/>
                  </a:srgb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grupos en situación de vulnerabilida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3E90D0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BBBF42B3-6BF5-46B0-98C7-3E3AC2B4667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860" t="21099" r="21885" b="47691"/>
          <a:stretch/>
        </p:blipFill>
        <p:spPr>
          <a:xfrm>
            <a:off x="3152857" y="1342055"/>
            <a:ext cx="6736732" cy="1837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18826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Marcador de contenido 7">
            <a:extLst>
              <a:ext uri="{FF2B5EF4-FFF2-40B4-BE49-F238E27FC236}">
                <a16:creationId xmlns:a16="http://schemas.microsoft.com/office/drawing/2014/main" id="{BA61A761-9C33-4237-9C1D-6933494CD103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 rotWithShape="1">
          <a:blip r:embed="rId2"/>
          <a:srcRect l="8229" t="14197" r="15073" b="54456"/>
          <a:stretch/>
        </p:blipFill>
        <p:spPr>
          <a:xfrm>
            <a:off x="0" y="3192463"/>
            <a:ext cx="5937250" cy="1363662"/>
          </a:xfr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4CF4158B-5D50-40FD-A3C1-15BB9267113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238" t="19220" r="10861" b="52249"/>
          <a:stretch/>
        </p:blipFill>
        <p:spPr>
          <a:xfrm>
            <a:off x="584615" y="365126"/>
            <a:ext cx="6745575" cy="1506876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A03837DC-2192-4DEC-864C-26C7B2026FF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238" t="57387" r="10861" b="14081"/>
          <a:stretch/>
        </p:blipFill>
        <p:spPr>
          <a:xfrm>
            <a:off x="4407106" y="1872002"/>
            <a:ext cx="6745575" cy="1506876"/>
          </a:xfrm>
          <a:prstGeom prst="rect">
            <a:avLst/>
          </a:prstGeom>
        </p:spPr>
      </p:pic>
      <p:pic>
        <p:nvPicPr>
          <p:cNvPr id="9" name="Marcador de contenido 7">
            <a:extLst>
              <a:ext uri="{FF2B5EF4-FFF2-40B4-BE49-F238E27FC236}">
                <a16:creationId xmlns:a16="http://schemas.microsoft.com/office/drawing/2014/main" id="{A056D69F-44B9-42CC-A1A8-A091F39B6ED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229" t="53844" r="15073" b="19659"/>
          <a:stretch/>
        </p:blipFill>
        <p:spPr>
          <a:xfrm>
            <a:off x="4407106" y="4242217"/>
            <a:ext cx="5936105" cy="1152993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FEE88A17-1E96-4536-AFB1-C9B9C3BF6D1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853" t="51914" r="10369" b="19548"/>
          <a:stretch/>
        </p:blipFill>
        <p:spPr>
          <a:xfrm>
            <a:off x="584615" y="5339557"/>
            <a:ext cx="6745575" cy="1339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4837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6F56EB3-8447-4B05-9A07-764F7B23FC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07EA7A39-A0B9-4FEC-BFF1-C344854F5F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78EDF8FF-CA4D-4F8D-A2D5-6A7F4650046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179" t="14409" r="31763" b="16268"/>
          <a:stretch/>
        </p:blipFill>
        <p:spPr>
          <a:xfrm>
            <a:off x="632085" y="209013"/>
            <a:ext cx="10927829" cy="6648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8687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51E3C40B-9377-4698-BF8D-BB353F936897}"/>
              </a:ext>
            </a:extLst>
          </p:cNvPr>
          <p:cNvSpPr txBox="1"/>
          <p:nvPr/>
        </p:nvSpPr>
        <p:spPr>
          <a:xfrm>
            <a:off x="2787097" y="3075057"/>
            <a:ext cx="661780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ro Black Caps" panose="02000000000000000000" pitchFamily="50" charset="0"/>
                <a:ea typeface="+mn-ea"/>
                <a:cs typeface="+mn-cs"/>
              </a:rPr>
              <a:t>NOMBRE CONFERENCIA</a:t>
            </a:r>
            <a:endParaRPr kumimoji="0" lang="es-CO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ro Black Caps" panose="02000000000000000000" pitchFamily="50" charset="0"/>
              <a:ea typeface="+mn-ea"/>
              <a:cs typeface="+mn-cs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A25FB256-B4EC-4AA0-B8F1-5CA3DEDA230C}"/>
              </a:ext>
            </a:extLst>
          </p:cNvPr>
          <p:cNvSpPr txBox="1"/>
          <p:nvPr/>
        </p:nvSpPr>
        <p:spPr>
          <a:xfrm>
            <a:off x="2980082" y="3987102"/>
            <a:ext cx="62318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NOMBRE CONFERENCISTA</a:t>
            </a:r>
            <a:endParaRPr kumimoji="0" lang="es-CO" sz="3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7AF61B02-A4E2-4D35-A0A6-3B30A0D8E5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F29A54EC-5B35-4446-8806-3038D4C882C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4692" t="28092" r="6192" b="23269"/>
          <a:stretch/>
        </p:blipFill>
        <p:spPr>
          <a:xfrm>
            <a:off x="893451" y="2287550"/>
            <a:ext cx="2086631" cy="1458795"/>
          </a:xfrm>
          <a:prstGeom prst="rect">
            <a:avLst/>
          </a:prstGeom>
        </p:spPr>
      </p:pic>
      <p:grpSp>
        <p:nvGrpSpPr>
          <p:cNvPr id="9" name="Grupo 8">
            <a:extLst>
              <a:ext uri="{FF2B5EF4-FFF2-40B4-BE49-F238E27FC236}">
                <a16:creationId xmlns:a16="http://schemas.microsoft.com/office/drawing/2014/main" id="{D1CB1800-4264-4BCB-9467-3CA18458B41C}"/>
              </a:ext>
            </a:extLst>
          </p:cNvPr>
          <p:cNvGrpSpPr/>
          <p:nvPr/>
        </p:nvGrpSpPr>
        <p:grpSpPr>
          <a:xfrm>
            <a:off x="1740470" y="5209067"/>
            <a:ext cx="7716388" cy="669917"/>
            <a:chOff x="4162022" y="4727784"/>
            <a:chExt cx="7716388" cy="669917"/>
          </a:xfrm>
        </p:grpSpPr>
        <p:sp>
          <p:nvSpPr>
            <p:cNvPr id="8" name="Rectángulo: esquinas redondeadas 7">
              <a:extLst>
                <a:ext uri="{FF2B5EF4-FFF2-40B4-BE49-F238E27FC236}">
                  <a16:creationId xmlns:a16="http://schemas.microsoft.com/office/drawing/2014/main" id="{764F6276-DE30-4CD4-93FA-53FD35F19058}"/>
                </a:ext>
              </a:extLst>
            </p:cNvPr>
            <p:cNvSpPr/>
            <p:nvPr/>
          </p:nvSpPr>
          <p:spPr>
            <a:xfrm>
              <a:off x="4162022" y="4727784"/>
              <a:ext cx="7641301" cy="646331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CuadroTexto 17">
              <a:extLst>
                <a:ext uri="{FF2B5EF4-FFF2-40B4-BE49-F238E27FC236}">
                  <a16:creationId xmlns:a16="http://schemas.microsoft.com/office/drawing/2014/main" id="{95DA723B-F611-4D00-9BEB-47E89C6C3A77}"/>
                </a:ext>
              </a:extLst>
            </p:cNvPr>
            <p:cNvSpPr txBox="1"/>
            <p:nvPr/>
          </p:nvSpPr>
          <p:spPr>
            <a:xfrm>
              <a:off x="4533068" y="4751370"/>
              <a:ext cx="7345342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  <a:hlinkClick r:id="rId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mpliar el acceso equitativo a servicios de salud, integrales, de calidad, centrados en las personas y las comunidades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1" name="Grupo 20">
            <a:extLst>
              <a:ext uri="{FF2B5EF4-FFF2-40B4-BE49-F238E27FC236}">
                <a16:creationId xmlns:a16="http://schemas.microsoft.com/office/drawing/2014/main" id="{114B6DCC-0A74-4B2B-A43E-625A8097EEA6}"/>
              </a:ext>
            </a:extLst>
          </p:cNvPr>
          <p:cNvGrpSpPr/>
          <p:nvPr/>
        </p:nvGrpSpPr>
        <p:grpSpPr>
          <a:xfrm>
            <a:off x="3451198" y="4395772"/>
            <a:ext cx="6734528" cy="685712"/>
            <a:chOff x="3648150" y="4058139"/>
            <a:chExt cx="6734528" cy="740565"/>
          </a:xfrm>
        </p:grpSpPr>
        <p:sp>
          <p:nvSpPr>
            <p:cNvPr id="20" name="Rectángulo: esquinas redondeadas 19">
              <a:extLst>
                <a:ext uri="{FF2B5EF4-FFF2-40B4-BE49-F238E27FC236}">
                  <a16:creationId xmlns:a16="http://schemas.microsoft.com/office/drawing/2014/main" id="{48F2E7BD-1EA9-4E13-BB5B-E98D99C889BD}"/>
                </a:ext>
              </a:extLst>
            </p:cNvPr>
            <p:cNvSpPr/>
            <p:nvPr/>
          </p:nvSpPr>
          <p:spPr>
            <a:xfrm>
              <a:off x="3648150" y="4058139"/>
              <a:ext cx="6734528" cy="740565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CuadroTexto 11">
              <a:extLst>
                <a:ext uri="{FF2B5EF4-FFF2-40B4-BE49-F238E27FC236}">
                  <a16:creationId xmlns:a16="http://schemas.microsoft.com/office/drawing/2014/main" id="{9A97B397-A8FB-4CED-94C4-98F514FE1FD0}"/>
                </a:ext>
              </a:extLst>
            </p:cNvPr>
            <p:cNvSpPr txBox="1"/>
            <p:nvPr/>
          </p:nvSpPr>
          <p:spPr>
            <a:xfrm>
              <a:off x="4098755" y="4084365"/>
              <a:ext cx="6231834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800" b="0" i="0" u="sng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ortalecer la rectoría y la gobernanza en el camino hacia la cobertura universal de salud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3" name="Grupo 22">
            <a:extLst>
              <a:ext uri="{FF2B5EF4-FFF2-40B4-BE49-F238E27FC236}">
                <a16:creationId xmlns:a16="http://schemas.microsoft.com/office/drawing/2014/main" id="{2DD7514E-4352-458C-B37D-B96DAAE0583D}"/>
              </a:ext>
            </a:extLst>
          </p:cNvPr>
          <p:cNvGrpSpPr/>
          <p:nvPr/>
        </p:nvGrpSpPr>
        <p:grpSpPr>
          <a:xfrm>
            <a:off x="4163702" y="3327758"/>
            <a:ext cx="7283522" cy="923330"/>
            <a:chOff x="4471021" y="2681293"/>
            <a:chExt cx="7810074" cy="923330"/>
          </a:xfrm>
        </p:grpSpPr>
        <p:sp>
          <p:nvSpPr>
            <p:cNvPr id="22" name="Rectángulo: esquinas redondeadas 21">
              <a:extLst>
                <a:ext uri="{FF2B5EF4-FFF2-40B4-BE49-F238E27FC236}">
                  <a16:creationId xmlns:a16="http://schemas.microsoft.com/office/drawing/2014/main" id="{F3AA91D3-2A53-4E5D-B821-0F828B64407F}"/>
                </a:ext>
              </a:extLst>
            </p:cNvPr>
            <p:cNvSpPr/>
            <p:nvPr/>
          </p:nvSpPr>
          <p:spPr>
            <a:xfrm>
              <a:off x="4471021" y="2702903"/>
              <a:ext cx="7810074" cy="823075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CuadroTexto 13">
              <a:extLst>
                <a:ext uri="{FF2B5EF4-FFF2-40B4-BE49-F238E27FC236}">
                  <a16:creationId xmlns:a16="http://schemas.microsoft.com/office/drawing/2014/main" id="{4B1968A0-D199-4A47-8B3B-228C279CC77E}"/>
                </a:ext>
              </a:extLst>
            </p:cNvPr>
            <p:cNvSpPr txBox="1"/>
            <p:nvPr/>
          </p:nvSpPr>
          <p:spPr>
            <a:xfrm>
              <a:off x="4984010" y="2681293"/>
              <a:ext cx="7100138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800" b="0" i="0" u="sng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umentar y mejorar el financiamiento y avanzar hacia la eliminación del pago directo que se convierte en barrera para el acceso en el momento de la prestación de servicios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5" name="Grupo 24">
            <a:extLst>
              <a:ext uri="{FF2B5EF4-FFF2-40B4-BE49-F238E27FC236}">
                <a16:creationId xmlns:a16="http://schemas.microsoft.com/office/drawing/2014/main" id="{7A42837F-3D0F-4D48-A69D-5D29C47FE3E3}"/>
              </a:ext>
            </a:extLst>
          </p:cNvPr>
          <p:cNvGrpSpPr/>
          <p:nvPr/>
        </p:nvGrpSpPr>
        <p:grpSpPr>
          <a:xfrm>
            <a:off x="4690254" y="2203763"/>
            <a:ext cx="7283522" cy="647965"/>
            <a:chOff x="6428935" y="1385751"/>
            <a:chExt cx="7283522" cy="647965"/>
          </a:xfrm>
        </p:grpSpPr>
        <p:sp>
          <p:nvSpPr>
            <p:cNvPr id="24" name="Rectángulo: esquinas redondeadas 23">
              <a:extLst>
                <a:ext uri="{FF2B5EF4-FFF2-40B4-BE49-F238E27FC236}">
                  <a16:creationId xmlns:a16="http://schemas.microsoft.com/office/drawing/2014/main" id="{86B28922-1BED-469F-A181-752F929EC7EC}"/>
                </a:ext>
              </a:extLst>
            </p:cNvPr>
            <p:cNvSpPr/>
            <p:nvPr/>
          </p:nvSpPr>
          <p:spPr>
            <a:xfrm>
              <a:off x="6428935" y="1408592"/>
              <a:ext cx="7283522" cy="625124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CuadroTexto 15">
              <a:extLst>
                <a:ext uri="{FF2B5EF4-FFF2-40B4-BE49-F238E27FC236}">
                  <a16:creationId xmlns:a16="http://schemas.microsoft.com/office/drawing/2014/main" id="{5083D2AB-9B8B-4546-A075-5E385D904282}"/>
                </a:ext>
              </a:extLst>
            </p:cNvPr>
            <p:cNvSpPr txBox="1"/>
            <p:nvPr/>
          </p:nvSpPr>
          <p:spPr>
            <a:xfrm>
              <a:off x="6884813" y="1385751"/>
              <a:ext cx="6642593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800" b="0" i="0" u="sng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ortalecer la acción intersectorial para abordar los determinantes sociales de la salud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aphicFrame>
        <p:nvGraphicFramePr>
          <p:cNvPr id="26" name="Diagrama 25">
            <a:extLst>
              <a:ext uri="{FF2B5EF4-FFF2-40B4-BE49-F238E27FC236}">
                <a16:creationId xmlns:a16="http://schemas.microsoft.com/office/drawing/2014/main" id="{DD2F9D30-C83C-4B32-AB7A-AA5AB739B3FB}"/>
              </a:ext>
            </a:extLst>
          </p:cNvPr>
          <p:cNvGraphicFramePr/>
          <p:nvPr/>
        </p:nvGraphicFramePr>
        <p:xfrm>
          <a:off x="1143092" y="1127770"/>
          <a:ext cx="5522351" cy="46463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7" name="Elipse 26">
            <a:extLst>
              <a:ext uri="{FF2B5EF4-FFF2-40B4-BE49-F238E27FC236}">
                <a16:creationId xmlns:a16="http://schemas.microsoft.com/office/drawing/2014/main" id="{78AAEF97-5C88-4E8E-8245-35E5335AAE61}"/>
              </a:ext>
            </a:extLst>
          </p:cNvPr>
          <p:cNvSpPr/>
          <p:nvPr/>
        </p:nvSpPr>
        <p:spPr>
          <a:xfrm>
            <a:off x="1143092" y="4672352"/>
            <a:ext cx="962033" cy="912063"/>
          </a:xfrm>
          <a:prstGeom prst="ellipse">
            <a:avLst/>
          </a:prstGeom>
          <a:solidFill>
            <a:schemeClr val="bg1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E90D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28" name="Elipse 27">
            <a:extLst>
              <a:ext uri="{FF2B5EF4-FFF2-40B4-BE49-F238E27FC236}">
                <a16:creationId xmlns:a16="http://schemas.microsoft.com/office/drawing/2014/main" id="{59D4F1CE-4045-48C3-BC4E-638CE7EABB88}"/>
              </a:ext>
            </a:extLst>
          </p:cNvPr>
          <p:cNvSpPr/>
          <p:nvPr/>
        </p:nvSpPr>
        <p:spPr>
          <a:xfrm>
            <a:off x="2939770" y="4009989"/>
            <a:ext cx="962033" cy="912063"/>
          </a:xfrm>
          <a:prstGeom prst="ellipse">
            <a:avLst/>
          </a:prstGeom>
          <a:solidFill>
            <a:schemeClr val="bg1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E90D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29" name="Elipse 28">
            <a:extLst>
              <a:ext uri="{FF2B5EF4-FFF2-40B4-BE49-F238E27FC236}">
                <a16:creationId xmlns:a16="http://schemas.microsoft.com/office/drawing/2014/main" id="{E7F7C853-3F9E-40A9-82F2-ED7389E3F659}"/>
              </a:ext>
            </a:extLst>
          </p:cNvPr>
          <p:cNvSpPr/>
          <p:nvPr/>
        </p:nvSpPr>
        <p:spPr>
          <a:xfrm>
            <a:off x="3714658" y="2995545"/>
            <a:ext cx="962033" cy="912063"/>
          </a:xfrm>
          <a:prstGeom prst="ellipse">
            <a:avLst/>
          </a:prstGeom>
          <a:solidFill>
            <a:schemeClr val="bg1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E90D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30" name="Elipse 29">
            <a:extLst>
              <a:ext uri="{FF2B5EF4-FFF2-40B4-BE49-F238E27FC236}">
                <a16:creationId xmlns:a16="http://schemas.microsoft.com/office/drawing/2014/main" id="{DCA72209-68AC-4216-8D33-25D9981C04F7}"/>
              </a:ext>
            </a:extLst>
          </p:cNvPr>
          <p:cNvSpPr/>
          <p:nvPr/>
        </p:nvSpPr>
        <p:spPr>
          <a:xfrm>
            <a:off x="4059279" y="1783689"/>
            <a:ext cx="962033" cy="912063"/>
          </a:xfrm>
          <a:prstGeom prst="ellipse">
            <a:avLst/>
          </a:prstGeom>
          <a:solidFill>
            <a:schemeClr val="bg1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E90D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8321DAD2-ABBD-4F6B-9FA3-A1AF8F3B0BA4}"/>
              </a:ext>
            </a:extLst>
          </p:cNvPr>
          <p:cNvSpPr txBox="1"/>
          <p:nvPr/>
        </p:nvSpPr>
        <p:spPr>
          <a:xfrm>
            <a:off x="593863" y="247616"/>
            <a:ext cx="849386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4000" b="1" i="0" u="none" strike="noStrike" kern="1200" cap="none" spc="0" normalizeH="0" baseline="0" noProof="0" dirty="0">
                <a:ln>
                  <a:noFill/>
                </a:ln>
                <a:solidFill>
                  <a:srgbClr val="3E90D0">
                    <a:lumMod val="50000"/>
                  </a:srgbClr>
                </a:solidFill>
                <a:effectLst/>
                <a:uLnTx/>
                <a:uFillTx/>
                <a:latin typeface="Intro Black Caps" panose="02000000000000000000" pitchFamily="50" charset="0"/>
                <a:ea typeface="+mn-ea"/>
                <a:cs typeface="+mn-cs"/>
              </a:rPr>
              <a:t>Acceso y cobertura universal de salu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3200" b="1" i="0" u="none" strike="noStrike" kern="1200" cap="none" spc="0" normalizeH="0" baseline="0" noProof="0" dirty="0">
                <a:ln>
                  <a:noFill/>
                </a:ln>
                <a:solidFill>
                  <a:srgbClr val="3E90D0">
                    <a:lumMod val="50000"/>
                  </a:srgbClr>
                </a:solidFill>
                <a:effectLst/>
                <a:uLnTx/>
                <a:uFillTx/>
                <a:latin typeface="Intro Black Caps" panose="02000000000000000000" pitchFamily="50" charset="0"/>
                <a:ea typeface="+mn-ea"/>
                <a:cs typeface="+mn-cs"/>
              </a:rPr>
              <a:t>Líneas estratégicas</a:t>
            </a:r>
          </a:p>
        </p:txBody>
      </p:sp>
    </p:spTree>
    <p:extLst>
      <p:ext uri="{BB962C8B-B14F-4D97-AF65-F5344CB8AC3E}">
        <p14:creationId xmlns:p14="http://schemas.microsoft.com/office/powerpoint/2010/main" val="24561616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51E3C40B-9377-4698-BF8D-BB353F936897}"/>
              </a:ext>
            </a:extLst>
          </p:cNvPr>
          <p:cNvSpPr txBox="1"/>
          <p:nvPr/>
        </p:nvSpPr>
        <p:spPr>
          <a:xfrm>
            <a:off x="2787097" y="3075057"/>
            <a:ext cx="661780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ro Black Caps" panose="02000000000000000000" pitchFamily="50" charset="0"/>
                <a:ea typeface="+mn-ea"/>
                <a:cs typeface="+mn-cs"/>
              </a:rPr>
              <a:t>NOMBRE CONFERENCIA</a:t>
            </a:r>
            <a:endParaRPr kumimoji="0" lang="es-CO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ro Black Caps" panose="02000000000000000000" pitchFamily="50" charset="0"/>
              <a:ea typeface="+mn-ea"/>
              <a:cs typeface="+mn-cs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A25FB256-B4EC-4AA0-B8F1-5CA3DEDA230C}"/>
              </a:ext>
            </a:extLst>
          </p:cNvPr>
          <p:cNvSpPr txBox="1"/>
          <p:nvPr/>
        </p:nvSpPr>
        <p:spPr>
          <a:xfrm>
            <a:off x="2980082" y="3987102"/>
            <a:ext cx="62318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NOMBRE CONFERENCISTA</a:t>
            </a:r>
            <a:endParaRPr kumimoji="0" lang="es-CO" sz="3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7AF61B02-A4E2-4D35-A0A6-3B30A0D8E5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Grupo 12">
            <a:extLst>
              <a:ext uri="{FF2B5EF4-FFF2-40B4-BE49-F238E27FC236}">
                <a16:creationId xmlns:a16="http://schemas.microsoft.com/office/drawing/2014/main" id="{24DB51C9-8D6C-4666-8C6D-23E354DE48D6}"/>
              </a:ext>
            </a:extLst>
          </p:cNvPr>
          <p:cNvGrpSpPr/>
          <p:nvPr/>
        </p:nvGrpSpPr>
        <p:grpSpPr>
          <a:xfrm>
            <a:off x="1495528" y="532653"/>
            <a:ext cx="9491340" cy="669917"/>
            <a:chOff x="4162022" y="4727784"/>
            <a:chExt cx="7716388" cy="669917"/>
          </a:xfrm>
        </p:grpSpPr>
        <p:sp>
          <p:nvSpPr>
            <p:cNvPr id="14" name="Rectángulo: esquinas redondeadas 13">
              <a:extLst>
                <a:ext uri="{FF2B5EF4-FFF2-40B4-BE49-F238E27FC236}">
                  <a16:creationId xmlns:a16="http://schemas.microsoft.com/office/drawing/2014/main" id="{0DA74236-5577-4D08-91F9-1B678F742EA8}"/>
                </a:ext>
              </a:extLst>
            </p:cNvPr>
            <p:cNvSpPr/>
            <p:nvPr/>
          </p:nvSpPr>
          <p:spPr>
            <a:xfrm>
              <a:off x="4162022" y="4727784"/>
              <a:ext cx="7641301" cy="646331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CuadroTexto 14">
              <a:extLst>
                <a:ext uri="{FF2B5EF4-FFF2-40B4-BE49-F238E27FC236}">
                  <a16:creationId xmlns:a16="http://schemas.microsoft.com/office/drawing/2014/main" id="{FE059768-7EB7-49F7-A18E-BB67CAF1B573}"/>
                </a:ext>
              </a:extLst>
            </p:cNvPr>
            <p:cNvSpPr txBox="1"/>
            <p:nvPr/>
          </p:nvSpPr>
          <p:spPr>
            <a:xfrm>
              <a:off x="4533068" y="4751370"/>
              <a:ext cx="7345342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mpliar el acceso equitativo a servicios de salud, integrales, de calidad, centrados en las personas y las comunidades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6" name="Elipse 15">
            <a:extLst>
              <a:ext uri="{FF2B5EF4-FFF2-40B4-BE49-F238E27FC236}">
                <a16:creationId xmlns:a16="http://schemas.microsoft.com/office/drawing/2014/main" id="{87497325-B071-44B4-86D6-C9CECF460A6B}"/>
              </a:ext>
            </a:extLst>
          </p:cNvPr>
          <p:cNvSpPr/>
          <p:nvPr/>
        </p:nvSpPr>
        <p:spPr>
          <a:xfrm>
            <a:off x="715270" y="394458"/>
            <a:ext cx="962033" cy="912063"/>
          </a:xfrm>
          <a:prstGeom prst="ellipse">
            <a:avLst/>
          </a:prstGeom>
          <a:solidFill>
            <a:schemeClr val="bg1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E90D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A07F53C0-3EB7-4578-ADAA-F45E843780D4}"/>
              </a:ext>
            </a:extLst>
          </p:cNvPr>
          <p:cNvSpPr txBox="1"/>
          <p:nvPr/>
        </p:nvSpPr>
        <p:spPr>
          <a:xfrm>
            <a:off x="715270" y="5131472"/>
            <a:ext cx="9371265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ource Sans Pro" panose="020B0503030403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“debe alcanzar a todas las personas por igual, independientemente de su capacidad de pago, sin diferencias de calidad y sin riesgo financiero. Toma en consideración las necesidades diferenciadas e insatisfechas de todas las personas, y presta atención a las necesidades específicas de los grupos en situación de vulnerabilidad”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6B747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E8C374E7-4595-4D7D-BB09-A4957EDC7B1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616" t="10031" r="35104" b="7219"/>
          <a:stretch/>
        </p:blipFill>
        <p:spPr>
          <a:xfrm>
            <a:off x="1662495" y="1347977"/>
            <a:ext cx="4994502" cy="3638088"/>
          </a:xfrm>
          <a:prstGeom prst="rect">
            <a:avLst/>
          </a:prstGeom>
        </p:spPr>
      </p:pic>
      <p:sp>
        <p:nvSpPr>
          <p:cNvPr id="19" name="CuadroTexto 18">
            <a:extLst>
              <a:ext uri="{FF2B5EF4-FFF2-40B4-BE49-F238E27FC236}">
                <a16:creationId xmlns:a16="http://schemas.microsoft.com/office/drawing/2014/main" id="{5696617B-EC42-445E-9D7A-1C0289C678EC}"/>
              </a:ext>
            </a:extLst>
          </p:cNvPr>
          <p:cNvSpPr txBox="1"/>
          <p:nvPr/>
        </p:nvSpPr>
        <p:spPr>
          <a:xfrm>
            <a:off x="1662495" y="4923228"/>
            <a:ext cx="6196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ns" panose="020B0604020202020204" pitchFamily="34" charset="0"/>
                <a:ea typeface="+mn-ea"/>
                <a:cs typeface="+mn-cs"/>
              </a:rPr>
              <a:t>Fuente: </a:t>
            </a:r>
            <a:r>
              <a:rPr kumimoji="0" lang="es-CO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ns" panose="020B0604020202020204" pitchFamily="34" charset="0"/>
                <a:ea typeface="+mn-ea"/>
                <a:cs typeface="+mn-cs"/>
              </a:rPr>
              <a:t>Stéphanie</a:t>
            </a:r>
            <a:r>
              <a:rPr kumimoji="0" lang="es-CO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ns" panose="020B0604020202020204" pitchFamily="34" charset="0"/>
                <a:ea typeface="+mn-ea"/>
                <a:cs typeface="+mn-cs"/>
              </a:rPr>
              <a:t> </a:t>
            </a:r>
            <a:r>
              <a:rPr kumimoji="0" lang="es-CO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ns" panose="020B0604020202020204" pitchFamily="34" charset="0"/>
                <a:ea typeface="+mn-ea"/>
                <a:cs typeface="+mn-cs"/>
              </a:rPr>
              <a:t>Chevalier</a:t>
            </a:r>
            <a:r>
              <a:rPr kumimoji="0" lang="es-CO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ns" panose="020B0604020202020204" pitchFamily="34" charset="0"/>
                <a:ea typeface="+mn-ea"/>
                <a:cs typeface="+mn-cs"/>
              </a:rPr>
              <a:t> Naranjo. Statista. Ene 2021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B931A773-FC10-49CE-A75D-99C425593458}"/>
              </a:ext>
            </a:extLst>
          </p:cNvPr>
          <p:cNvSpPr txBox="1"/>
          <p:nvPr/>
        </p:nvSpPr>
        <p:spPr>
          <a:xfrm>
            <a:off x="7033371" y="1572601"/>
            <a:ext cx="41040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sng" strike="noStrike" kern="1200" cap="none" spc="0" normalizeH="0" baseline="0" noProof="0" dirty="0" err="1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tos</a:t>
            </a:r>
            <a:r>
              <a:rPr kumimoji="0" lang="en-US" sz="2400" b="1" i="0" u="sng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 la  </a:t>
            </a:r>
            <a:r>
              <a:rPr kumimoji="0" lang="en-US" sz="2400" b="1" i="0" u="sng" strike="noStrike" kern="1200" cap="none" spc="0" normalizeH="0" baseline="0" noProof="0" dirty="0" err="1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ormación</a:t>
            </a:r>
            <a:r>
              <a:rPr kumimoji="0" lang="en-US" sz="2400" b="1" i="0" u="sng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ficial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D3746B45-10BC-445B-95F6-F054889CEB84}"/>
              </a:ext>
            </a:extLst>
          </p:cNvPr>
          <p:cNvSpPr txBox="1"/>
          <p:nvPr/>
        </p:nvSpPr>
        <p:spPr>
          <a:xfrm>
            <a:off x="7455877" y="2152357"/>
            <a:ext cx="4318781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icadore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ortunida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inuida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y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herencia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B747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ns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ciente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n E. H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racterizació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 las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horte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.H. y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apacidad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B747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uia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y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tocolo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ra la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enció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tegral d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ciente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n EH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mizaj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eonatal y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ueba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agnóstic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ra EH</a:t>
            </a:r>
          </a:p>
        </p:txBody>
      </p:sp>
    </p:spTree>
    <p:extLst>
      <p:ext uri="{BB962C8B-B14F-4D97-AF65-F5344CB8AC3E}">
        <p14:creationId xmlns:p14="http://schemas.microsoft.com/office/powerpoint/2010/main" val="35041059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51E3C40B-9377-4698-BF8D-BB353F936897}"/>
              </a:ext>
            </a:extLst>
          </p:cNvPr>
          <p:cNvSpPr txBox="1"/>
          <p:nvPr/>
        </p:nvSpPr>
        <p:spPr>
          <a:xfrm>
            <a:off x="2787097" y="3075057"/>
            <a:ext cx="661780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ro Black Caps" panose="02000000000000000000" pitchFamily="50" charset="0"/>
                <a:ea typeface="+mn-ea"/>
                <a:cs typeface="+mn-cs"/>
              </a:rPr>
              <a:t>NOMBRE CONFERENCIA</a:t>
            </a:r>
            <a:endParaRPr kumimoji="0" lang="es-CO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ro Black Caps" panose="02000000000000000000" pitchFamily="50" charset="0"/>
              <a:ea typeface="+mn-ea"/>
              <a:cs typeface="+mn-cs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A25FB256-B4EC-4AA0-B8F1-5CA3DEDA230C}"/>
              </a:ext>
            </a:extLst>
          </p:cNvPr>
          <p:cNvSpPr txBox="1"/>
          <p:nvPr/>
        </p:nvSpPr>
        <p:spPr>
          <a:xfrm>
            <a:off x="2980082" y="3987102"/>
            <a:ext cx="62318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NOMBRE CONFERENCISTA</a:t>
            </a:r>
            <a:endParaRPr kumimoji="0" lang="es-CO" sz="3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7AF61B02-A4E2-4D35-A0A6-3B30A0D8E5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Grupo 12">
            <a:extLst>
              <a:ext uri="{FF2B5EF4-FFF2-40B4-BE49-F238E27FC236}">
                <a16:creationId xmlns:a16="http://schemas.microsoft.com/office/drawing/2014/main" id="{24DB51C9-8D6C-4666-8C6D-23E354DE48D6}"/>
              </a:ext>
            </a:extLst>
          </p:cNvPr>
          <p:cNvGrpSpPr/>
          <p:nvPr/>
        </p:nvGrpSpPr>
        <p:grpSpPr>
          <a:xfrm>
            <a:off x="1495528" y="532653"/>
            <a:ext cx="9398981" cy="646331"/>
            <a:chOff x="4162022" y="4727784"/>
            <a:chExt cx="7641301" cy="646331"/>
          </a:xfrm>
        </p:grpSpPr>
        <p:sp>
          <p:nvSpPr>
            <p:cNvPr id="14" name="Rectángulo: esquinas redondeadas 13">
              <a:extLst>
                <a:ext uri="{FF2B5EF4-FFF2-40B4-BE49-F238E27FC236}">
                  <a16:creationId xmlns:a16="http://schemas.microsoft.com/office/drawing/2014/main" id="{0DA74236-5577-4D08-91F9-1B678F742EA8}"/>
                </a:ext>
              </a:extLst>
            </p:cNvPr>
            <p:cNvSpPr/>
            <p:nvPr/>
          </p:nvSpPr>
          <p:spPr>
            <a:xfrm>
              <a:off x="4162022" y="4727784"/>
              <a:ext cx="7641301" cy="646331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CuadroTexto 14">
              <a:extLst>
                <a:ext uri="{FF2B5EF4-FFF2-40B4-BE49-F238E27FC236}">
                  <a16:creationId xmlns:a16="http://schemas.microsoft.com/office/drawing/2014/main" id="{FE059768-7EB7-49F7-A18E-BB67CAF1B573}"/>
                </a:ext>
              </a:extLst>
            </p:cNvPr>
            <p:cNvSpPr txBox="1"/>
            <p:nvPr/>
          </p:nvSpPr>
          <p:spPr>
            <a:xfrm>
              <a:off x="4432992" y="4751370"/>
              <a:ext cx="7345342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800" b="1" i="0" u="sng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ortalecer la rectoría y la gobernanza en el camino hacia la cobertura universal de salud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6" name="Elipse 15">
            <a:extLst>
              <a:ext uri="{FF2B5EF4-FFF2-40B4-BE49-F238E27FC236}">
                <a16:creationId xmlns:a16="http://schemas.microsoft.com/office/drawing/2014/main" id="{87497325-B071-44B4-86D6-C9CECF460A6B}"/>
              </a:ext>
            </a:extLst>
          </p:cNvPr>
          <p:cNvSpPr/>
          <p:nvPr/>
        </p:nvSpPr>
        <p:spPr>
          <a:xfrm>
            <a:off x="715270" y="394458"/>
            <a:ext cx="962033" cy="912063"/>
          </a:xfrm>
          <a:prstGeom prst="ellipse">
            <a:avLst/>
          </a:prstGeom>
          <a:solidFill>
            <a:schemeClr val="bg1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E90D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A07F53C0-3EB7-4578-ADAA-F45E843780D4}"/>
              </a:ext>
            </a:extLst>
          </p:cNvPr>
          <p:cNvSpPr txBox="1"/>
          <p:nvPr/>
        </p:nvSpPr>
        <p:spPr>
          <a:xfrm>
            <a:off x="703382" y="4385768"/>
            <a:ext cx="11043139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ource Sans Pro" panose="020B0503030403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“</a:t>
            </a:r>
            <a:r>
              <a:rPr kumimoji="0" lang="es-CO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ource Sans Pro" panose="020B05030304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arrollar la reglamentación como instrumento eficaz para asegurar el acceso y la calidad de la atención en los servicios de salud; la formación, distribución y actuación adecuada de los recursos humanos; la movilización y la asignación de recursos financieros a fin de promover la equidad y el acceso, y de garantizar la protección financiera; la calidad y el uso de las tecnologías en beneficio de las personas; y la participación de todos los sectores, incluido el privado, en el avance hacia la cobertura universal de salud</a:t>
            </a:r>
            <a:r>
              <a:rPr kumimoji="0" lang="es-CO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ource Sans Pro" panose="020B0503030403020204" pitchFamily="34" charset="0"/>
                <a:ea typeface="Times New Roman" panose="02020603050405020304" pitchFamily="18" charset="0"/>
                <a:cs typeface="+mn-cs"/>
              </a:rPr>
              <a:t>.</a:t>
            </a:r>
            <a:r>
              <a:rPr kumimoji="0" lang="es-CO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ource Sans Pro" panose="020B0503030403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”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B747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Rectángulo: esquinas redondeadas 3">
            <a:extLst>
              <a:ext uri="{FF2B5EF4-FFF2-40B4-BE49-F238E27FC236}">
                <a16:creationId xmlns:a16="http://schemas.microsoft.com/office/drawing/2014/main" id="{9FE3F85F-3F47-43B7-A6D2-9E0EB57145E5}"/>
              </a:ext>
            </a:extLst>
          </p:cNvPr>
          <p:cNvSpPr/>
          <p:nvPr/>
        </p:nvSpPr>
        <p:spPr>
          <a:xfrm>
            <a:off x="1199015" y="1688123"/>
            <a:ext cx="2432792" cy="646331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enció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tegral 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lud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ángulo: esquinas redondeadas 19">
            <a:extLst>
              <a:ext uri="{FF2B5EF4-FFF2-40B4-BE49-F238E27FC236}">
                <a16:creationId xmlns:a16="http://schemas.microsoft.com/office/drawing/2014/main" id="{A15C8758-EB08-470F-AD4B-794B7E688281}"/>
              </a:ext>
            </a:extLst>
          </p:cNvPr>
          <p:cNvSpPr/>
          <p:nvPr/>
        </p:nvSpPr>
        <p:spPr>
          <a:xfrm>
            <a:off x="4979792" y="1688122"/>
            <a:ext cx="2432792" cy="646331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vestigació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ctángulo: esquinas redondeadas 20">
            <a:extLst>
              <a:ext uri="{FF2B5EF4-FFF2-40B4-BE49-F238E27FC236}">
                <a16:creationId xmlns:a16="http://schemas.microsoft.com/office/drawing/2014/main" id="{BE81D996-1F31-4192-BBE9-8A880712C5DA}"/>
              </a:ext>
            </a:extLst>
          </p:cNvPr>
          <p:cNvSpPr/>
          <p:nvPr/>
        </p:nvSpPr>
        <p:spPr>
          <a:xfrm>
            <a:off x="8710075" y="1688122"/>
            <a:ext cx="2432792" cy="646331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to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ciale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DBA06478-4649-448A-9464-525B2984DD9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7810" t="36042" r="23440" b="41341"/>
          <a:stretch/>
        </p:blipFill>
        <p:spPr>
          <a:xfrm>
            <a:off x="1281113" y="2549432"/>
            <a:ext cx="2286000" cy="1550343"/>
          </a:xfrm>
          <a:prstGeom prst="rect">
            <a:avLst/>
          </a:prstGeom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id="{0927F899-783B-4066-9CE6-C3F0129859F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78876" t="54567" r="2631" b="26067"/>
          <a:stretch/>
        </p:blipFill>
        <p:spPr>
          <a:xfrm>
            <a:off x="5064371" y="2516620"/>
            <a:ext cx="2254670" cy="1583155"/>
          </a:xfrm>
          <a:prstGeom prst="rect">
            <a:avLst/>
          </a:prstGeom>
        </p:spPr>
      </p:pic>
      <p:pic>
        <p:nvPicPr>
          <p:cNvPr id="24" name="Imagen 23">
            <a:extLst>
              <a:ext uri="{FF2B5EF4-FFF2-40B4-BE49-F238E27FC236}">
                <a16:creationId xmlns:a16="http://schemas.microsoft.com/office/drawing/2014/main" id="{EA76B3FF-2A4C-4742-9D2E-1C2E1ABBBCC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32031" b="62109" l="63104" r="89458">
                        <a14:foregroundMark x1="89458" y1="51953" x2="89458" y2="51953"/>
                      </a14:backgroundRemoval>
                    </a14:imgEffect>
                  </a14:imgLayer>
                </a14:imgProps>
              </a:ext>
            </a:extLst>
          </a:blip>
          <a:srcRect l="60031" t="28300" r="8605" b="34032"/>
          <a:stretch/>
        </p:blipFill>
        <p:spPr>
          <a:xfrm>
            <a:off x="8395545" y="2401825"/>
            <a:ext cx="2876193" cy="1942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70287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51E3C40B-9377-4698-BF8D-BB353F936897}"/>
              </a:ext>
            </a:extLst>
          </p:cNvPr>
          <p:cNvSpPr txBox="1"/>
          <p:nvPr/>
        </p:nvSpPr>
        <p:spPr>
          <a:xfrm>
            <a:off x="2787097" y="3075057"/>
            <a:ext cx="661780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ro Black Caps" panose="02000000000000000000" pitchFamily="50" charset="0"/>
                <a:ea typeface="+mn-ea"/>
                <a:cs typeface="+mn-cs"/>
              </a:rPr>
              <a:t>NOMBRE CONFERENCIA</a:t>
            </a:r>
            <a:endParaRPr kumimoji="0" lang="es-CO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ro Black Caps" panose="02000000000000000000" pitchFamily="50" charset="0"/>
              <a:ea typeface="+mn-ea"/>
              <a:cs typeface="+mn-cs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A25FB256-B4EC-4AA0-B8F1-5CA3DEDA230C}"/>
              </a:ext>
            </a:extLst>
          </p:cNvPr>
          <p:cNvSpPr txBox="1"/>
          <p:nvPr/>
        </p:nvSpPr>
        <p:spPr>
          <a:xfrm>
            <a:off x="2980082" y="3987102"/>
            <a:ext cx="62318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NOMBRE CONFERENCISTA</a:t>
            </a:r>
            <a:endParaRPr kumimoji="0" lang="es-CO" sz="3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7AF61B02-A4E2-4D35-A0A6-3B30A0D8E5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648"/>
            <a:ext cx="12192000" cy="6858000"/>
          </a:xfrm>
          <a:prstGeom prst="rect">
            <a:avLst/>
          </a:prstGeom>
        </p:spPr>
      </p:pic>
      <p:grpSp>
        <p:nvGrpSpPr>
          <p:cNvPr id="13" name="Grupo 12">
            <a:extLst>
              <a:ext uri="{FF2B5EF4-FFF2-40B4-BE49-F238E27FC236}">
                <a16:creationId xmlns:a16="http://schemas.microsoft.com/office/drawing/2014/main" id="{24DB51C9-8D6C-4666-8C6D-23E354DE48D6}"/>
              </a:ext>
            </a:extLst>
          </p:cNvPr>
          <p:cNvGrpSpPr/>
          <p:nvPr/>
        </p:nvGrpSpPr>
        <p:grpSpPr>
          <a:xfrm>
            <a:off x="1495528" y="532653"/>
            <a:ext cx="9491340" cy="669917"/>
            <a:chOff x="4162022" y="4727784"/>
            <a:chExt cx="7716388" cy="669917"/>
          </a:xfrm>
        </p:grpSpPr>
        <p:sp>
          <p:nvSpPr>
            <p:cNvPr id="14" name="Rectángulo: esquinas redondeadas 13">
              <a:extLst>
                <a:ext uri="{FF2B5EF4-FFF2-40B4-BE49-F238E27FC236}">
                  <a16:creationId xmlns:a16="http://schemas.microsoft.com/office/drawing/2014/main" id="{0DA74236-5577-4D08-91F9-1B678F742EA8}"/>
                </a:ext>
              </a:extLst>
            </p:cNvPr>
            <p:cNvSpPr/>
            <p:nvPr/>
          </p:nvSpPr>
          <p:spPr>
            <a:xfrm>
              <a:off x="4162022" y="4727784"/>
              <a:ext cx="7641301" cy="646331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CuadroTexto 14">
              <a:extLst>
                <a:ext uri="{FF2B5EF4-FFF2-40B4-BE49-F238E27FC236}">
                  <a16:creationId xmlns:a16="http://schemas.microsoft.com/office/drawing/2014/main" id="{FE059768-7EB7-49F7-A18E-BB67CAF1B573}"/>
                </a:ext>
              </a:extLst>
            </p:cNvPr>
            <p:cNvSpPr txBox="1"/>
            <p:nvPr/>
          </p:nvSpPr>
          <p:spPr>
            <a:xfrm>
              <a:off x="4533068" y="4751370"/>
              <a:ext cx="7345342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800" b="1" i="0" u="sng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umentar y mejorar el financiamiento y avanzar hacia la eliminación del pago directo que se convierte en barrera para el acceso en el momento de la prestación de servicios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6" name="Elipse 15">
            <a:extLst>
              <a:ext uri="{FF2B5EF4-FFF2-40B4-BE49-F238E27FC236}">
                <a16:creationId xmlns:a16="http://schemas.microsoft.com/office/drawing/2014/main" id="{87497325-B071-44B4-86D6-C9CECF460A6B}"/>
              </a:ext>
            </a:extLst>
          </p:cNvPr>
          <p:cNvSpPr/>
          <p:nvPr/>
        </p:nvSpPr>
        <p:spPr>
          <a:xfrm>
            <a:off x="715270" y="394458"/>
            <a:ext cx="962033" cy="912063"/>
          </a:xfrm>
          <a:prstGeom prst="ellipse">
            <a:avLst/>
          </a:prstGeom>
          <a:solidFill>
            <a:schemeClr val="bg1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E90D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A07F53C0-3EB7-4578-ADAA-F45E843780D4}"/>
              </a:ext>
            </a:extLst>
          </p:cNvPr>
          <p:cNvSpPr txBox="1"/>
          <p:nvPr/>
        </p:nvSpPr>
        <p:spPr>
          <a:xfrm>
            <a:off x="547133" y="4810296"/>
            <a:ext cx="11043139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ource Sans Pro" panose="020B0503030403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“</a:t>
            </a:r>
            <a:r>
              <a:rPr kumimoji="0" lang="es-CO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ource Sans Pro" panose="020B05030304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jorar la eficiencia del financiamiento y la organización del sistema de salud, alinear los incentivos y mecanismos de pago con resultados de avance hacia la cobertura universal de salud; racionalizar la introducción y el uso de medicamentos y otras tecnologías de salud con un enfoque integrado y multidisciplinario;  adoptando procesos transparentes para la adquisición y además de luchar contra la corrupción, entre otros</a:t>
            </a:r>
            <a:r>
              <a:rPr kumimoji="0" lang="es-CO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ource Sans Pro" panose="020B0503030403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”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6B747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" name="Tabla 3">
            <a:extLst>
              <a:ext uri="{FF2B5EF4-FFF2-40B4-BE49-F238E27FC236}">
                <a16:creationId xmlns:a16="http://schemas.microsoft.com/office/drawing/2014/main" id="{C9B9E1E8-0D12-466E-9E66-E6638C1C2753}"/>
              </a:ext>
            </a:extLst>
          </p:cNvPr>
          <p:cNvGraphicFramePr>
            <a:graphicFrameLocks noGrp="1"/>
          </p:cNvGraphicFramePr>
          <p:nvPr/>
        </p:nvGraphicFramePr>
        <p:xfrm>
          <a:off x="574429" y="1333013"/>
          <a:ext cx="10821453" cy="3217720"/>
        </p:xfrm>
        <a:graphic>
          <a:graphicData uri="http://schemas.openxmlformats.org/drawingml/2006/table">
            <a:tbl>
              <a:tblPr firstRow="1" firstCol="1" bandRow="1">
                <a:tableStyleId>{3B4B98B0-60AC-42C2-AFA5-B58CD77FA1E5}</a:tableStyleId>
              </a:tblPr>
              <a:tblGrid>
                <a:gridCol w="1286689">
                  <a:extLst>
                    <a:ext uri="{9D8B030D-6E8A-4147-A177-3AD203B41FA5}">
                      <a16:colId xmlns:a16="http://schemas.microsoft.com/office/drawing/2014/main" val="3689760954"/>
                    </a:ext>
                  </a:extLst>
                </a:gridCol>
                <a:gridCol w="1810130">
                  <a:extLst>
                    <a:ext uri="{9D8B030D-6E8A-4147-A177-3AD203B41FA5}">
                      <a16:colId xmlns:a16="http://schemas.microsoft.com/office/drawing/2014/main" val="1889219832"/>
                    </a:ext>
                  </a:extLst>
                </a:gridCol>
                <a:gridCol w="1364776">
                  <a:extLst>
                    <a:ext uri="{9D8B030D-6E8A-4147-A177-3AD203B41FA5}">
                      <a16:colId xmlns:a16="http://schemas.microsoft.com/office/drawing/2014/main" val="3295678801"/>
                    </a:ext>
                  </a:extLst>
                </a:gridCol>
                <a:gridCol w="1310185">
                  <a:extLst>
                    <a:ext uri="{9D8B030D-6E8A-4147-A177-3AD203B41FA5}">
                      <a16:colId xmlns:a16="http://schemas.microsoft.com/office/drawing/2014/main" val="2561838770"/>
                    </a:ext>
                  </a:extLst>
                </a:gridCol>
                <a:gridCol w="1419367">
                  <a:extLst>
                    <a:ext uri="{9D8B030D-6E8A-4147-A177-3AD203B41FA5}">
                      <a16:colId xmlns:a16="http://schemas.microsoft.com/office/drawing/2014/main" val="818625619"/>
                    </a:ext>
                  </a:extLst>
                </a:gridCol>
                <a:gridCol w="1624084">
                  <a:extLst>
                    <a:ext uri="{9D8B030D-6E8A-4147-A177-3AD203B41FA5}">
                      <a16:colId xmlns:a16="http://schemas.microsoft.com/office/drawing/2014/main" val="1840756098"/>
                    </a:ext>
                  </a:extLst>
                </a:gridCol>
                <a:gridCol w="2006222">
                  <a:extLst>
                    <a:ext uri="{9D8B030D-6E8A-4147-A177-3AD203B41FA5}">
                      <a16:colId xmlns:a16="http://schemas.microsoft.com/office/drawing/2014/main" val="1796124392"/>
                    </a:ext>
                  </a:extLst>
                </a:gridCol>
              </a:tblGrid>
              <a:tr h="587585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err="1"/>
                        <a:t>Pais</a:t>
                      </a:r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Marco </a:t>
                      </a:r>
                      <a:r>
                        <a:rPr lang="en-US" sz="1600" dirty="0" err="1"/>
                        <a:t>legislativo</a:t>
                      </a:r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err="1"/>
                        <a:t>Listado</a:t>
                      </a:r>
                      <a:r>
                        <a:rPr lang="en-US" sz="1600" dirty="0"/>
                        <a:t> oficial E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ist. Inf </a:t>
                      </a:r>
                      <a:r>
                        <a:rPr lang="en-US" sz="1600" dirty="0" err="1"/>
                        <a:t>casos</a:t>
                      </a:r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err="1"/>
                        <a:t>Presupuesto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específico</a:t>
                      </a:r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err="1"/>
                        <a:t>Organo</a:t>
                      </a:r>
                      <a:r>
                        <a:rPr lang="en-US" sz="1600" dirty="0"/>
                        <a:t> oficial </a:t>
                      </a:r>
                      <a:r>
                        <a:rPr lang="en-US" sz="1600" dirty="0" err="1"/>
                        <a:t>gestión</a:t>
                      </a:r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err="1"/>
                        <a:t>Normas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cobertura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ratamiento</a:t>
                      </a:r>
                      <a:endParaRPr lang="en-US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87297817"/>
                  </a:ext>
                </a:extLst>
              </a:tr>
              <a:tr h="340425">
                <a:tc>
                  <a:txBody>
                    <a:bodyPr/>
                    <a:lstStyle/>
                    <a:p>
                      <a:r>
                        <a:rPr lang="en-US" sz="1600" dirty="0"/>
                        <a:t>Colomb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Ley 1392/ 2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7062706"/>
                  </a:ext>
                </a:extLst>
              </a:tr>
              <a:tr h="340425">
                <a:tc>
                  <a:txBody>
                    <a:bodyPr/>
                    <a:lstStyle/>
                    <a:p>
                      <a:r>
                        <a:rPr lang="en-US" sz="1600" dirty="0"/>
                        <a:t>Ecuad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Ley 67 /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3075418"/>
                  </a:ext>
                </a:extLst>
              </a:tr>
              <a:tr h="340425">
                <a:tc>
                  <a:txBody>
                    <a:bodyPr/>
                    <a:lstStyle/>
                    <a:p>
                      <a:r>
                        <a:rPr lang="en-US" sz="1600" dirty="0"/>
                        <a:t>Perú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Ley 29698 / 2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2806188"/>
                  </a:ext>
                </a:extLst>
              </a:tr>
              <a:tr h="587585">
                <a:tc>
                  <a:txBody>
                    <a:bodyPr/>
                    <a:lstStyle/>
                    <a:p>
                      <a:r>
                        <a:rPr lang="en-US" sz="1600" dirty="0"/>
                        <a:t>Panamá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Ley 28 /2014 y Dec. 1217/ 20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9927763"/>
                  </a:ext>
                </a:extLst>
              </a:tr>
              <a:tr h="340425">
                <a:tc>
                  <a:txBody>
                    <a:bodyPr/>
                    <a:lstStyle/>
                    <a:p>
                      <a:r>
                        <a:rPr lang="en-US" sz="1600" dirty="0"/>
                        <a:t>Costa Ric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No </a:t>
                      </a:r>
                      <a:r>
                        <a:rPr lang="en-US" sz="1600" dirty="0" err="1"/>
                        <a:t>tien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351934"/>
                  </a:ext>
                </a:extLst>
              </a:tr>
              <a:tr h="340425">
                <a:tc>
                  <a:txBody>
                    <a:bodyPr/>
                    <a:lstStyle/>
                    <a:p>
                      <a:r>
                        <a:rPr lang="en-US" sz="1600" dirty="0"/>
                        <a:t>Guatemal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NT 76/ 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8108738"/>
                  </a:ext>
                </a:extLst>
              </a:tr>
              <a:tr h="340425">
                <a:tc>
                  <a:txBody>
                    <a:bodyPr/>
                    <a:lstStyle/>
                    <a:p>
                      <a:r>
                        <a:rPr lang="en-US" sz="1600" dirty="0"/>
                        <a:t>Rep. Dom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No </a:t>
                      </a:r>
                      <a:r>
                        <a:rPr lang="en-US" sz="1600" dirty="0" err="1"/>
                        <a:t>tien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7302997"/>
                  </a:ext>
                </a:extLst>
              </a:tr>
            </a:tbl>
          </a:graphicData>
        </a:graphic>
      </p:graphicFrame>
      <p:sp>
        <p:nvSpPr>
          <p:cNvPr id="4" name="CuadroTexto 3">
            <a:extLst>
              <a:ext uri="{FF2B5EF4-FFF2-40B4-BE49-F238E27FC236}">
                <a16:creationId xmlns:a16="http://schemas.microsoft.com/office/drawing/2014/main" id="{08357A8F-30AF-4258-90ED-B154093E300F}"/>
              </a:ext>
            </a:extLst>
          </p:cNvPr>
          <p:cNvSpPr txBox="1"/>
          <p:nvPr/>
        </p:nvSpPr>
        <p:spPr>
          <a:xfrm>
            <a:off x="6195018" y="4542213"/>
            <a:ext cx="5359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ente: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tuación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 las Enfermedades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uérfanas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tinoamerica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–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uroeconomix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20</a:t>
            </a:r>
          </a:p>
        </p:txBody>
      </p:sp>
    </p:spTree>
    <p:extLst>
      <p:ext uri="{BB962C8B-B14F-4D97-AF65-F5344CB8AC3E}">
        <p14:creationId xmlns:p14="http://schemas.microsoft.com/office/powerpoint/2010/main" val="22611545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51E3C40B-9377-4698-BF8D-BB353F936897}"/>
              </a:ext>
            </a:extLst>
          </p:cNvPr>
          <p:cNvSpPr txBox="1"/>
          <p:nvPr/>
        </p:nvSpPr>
        <p:spPr>
          <a:xfrm>
            <a:off x="2787097" y="3075057"/>
            <a:ext cx="661780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ro Black Caps" panose="02000000000000000000" pitchFamily="50" charset="0"/>
                <a:ea typeface="+mn-ea"/>
                <a:cs typeface="+mn-cs"/>
              </a:rPr>
              <a:t>NOMBRE CONFERENCIA</a:t>
            </a:r>
            <a:endParaRPr kumimoji="0" lang="es-CO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ro Black Caps" panose="02000000000000000000" pitchFamily="50" charset="0"/>
              <a:ea typeface="+mn-ea"/>
              <a:cs typeface="+mn-cs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A25FB256-B4EC-4AA0-B8F1-5CA3DEDA230C}"/>
              </a:ext>
            </a:extLst>
          </p:cNvPr>
          <p:cNvSpPr txBox="1"/>
          <p:nvPr/>
        </p:nvSpPr>
        <p:spPr>
          <a:xfrm>
            <a:off x="2980082" y="3987102"/>
            <a:ext cx="62318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NOMBRE CONFERENCISTA</a:t>
            </a:r>
            <a:endParaRPr kumimoji="0" lang="es-CO" sz="3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7AF61B02-A4E2-4D35-A0A6-3B30A0D8E5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Grupo 12">
            <a:extLst>
              <a:ext uri="{FF2B5EF4-FFF2-40B4-BE49-F238E27FC236}">
                <a16:creationId xmlns:a16="http://schemas.microsoft.com/office/drawing/2014/main" id="{24DB51C9-8D6C-4666-8C6D-23E354DE48D6}"/>
              </a:ext>
            </a:extLst>
          </p:cNvPr>
          <p:cNvGrpSpPr/>
          <p:nvPr/>
        </p:nvGrpSpPr>
        <p:grpSpPr>
          <a:xfrm>
            <a:off x="1495528" y="532653"/>
            <a:ext cx="9491340" cy="646331"/>
            <a:chOff x="4162022" y="4727784"/>
            <a:chExt cx="7716388" cy="646331"/>
          </a:xfrm>
        </p:grpSpPr>
        <p:sp>
          <p:nvSpPr>
            <p:cNvPr id="14" name="Rectángulo: esquinas redondeadas 13">
              <a:extLst>
                <a:ext uri="{FF2B5EF4-FFF2-40B4-BE49-F238E27FC236}">
                  <a16:creationId xmlns:a16="http://schemas.microsoft.com/office/drawing/2014/main" id="{0DA74236-5577-4D08-91F9-1B678F742EA8}"/>
                </a:ext>
              </a:extLst>
            </p:cNvPr>
            <p:cNvSpPr/>
            <p:nvPr/>
          </p:nvSpPr>
          <p:spPr>
            <a:xfrm>
              <a:off x="4162022" y="4727784"/>
              <a:ext cx="7641301" cy="646331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CuadroTexto 14">
              <a:extLst>
                <a:ext uri="{FF2B5EF4-FFF2-40B4-BE49-F238E27FC236}">
                  <a16:creationId xmlns:a16="http://schemas.microsoft.com/office/drawing/2014/main" id="{FE059768-7EB7-49F7-A18E-BB67CAF1B573}"/>
                </a:ext>
              </a:extLst>
            </p:cNvPr>
            <p:cNvSpPr txBox="1"/>
            <p:nvPr/>
          </p:nvSpPr>
          <p:spPr>
            <a:xfrm>
              <a:off x="4533068" y="4751370"/>
              <a:ext cx="7345342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800" b="1" i="0" u="sng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ortalecer la acción intersectorial para abordar los determinantes sociales de la salud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6" name="Elipse 15">
            <a:extLst>
              <a:ext uri="{FF2B5EF4-FFF2-40B4-BE49-F238E27FC236}">
                <a16:creationId xmlns:a16="http://schemas.microsoft.com/office/drawing/2014/main" id="{87497325-B071-44B4-86D6-C9CECF460A6B}"/>
              </a:ext>
            </a:extLst>
          </p:cNvPr>
          <p:cNvSpPr/>
          <p:nvPr/>
        </p:nvSpPr>
        <p:spPr>
          <a:xfrm>
            <a:off x="715270" y="394458"/>
            <a:ext cx="962033" cy="912063"/>
          </a:xfrm>
          <a:prstGeom prst="ellipse">
            <a:avLst/>
          </a:prstGeom>
          <a:solidFill>
            <a:schemeClr val="bg1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E90D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A07F53C0-3EB7-4578-ADAA-F45E843780D4}"/>
              </a:ext>
            </a:extLst>
          </p:cNvPr>
          <p:cNvSpPr txBox="1"/>
          <p:nvPr/>
        </p:nvSpPr>
        <p:spPr>
          <a:xfrm>
            <a:off x="844061" y="4586693"/>
            <a:ext cx="11043139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ource Sans Pro" panose="020B0503030403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“debe alcanzar a todas las personas por igual, independientemente de su capacidad de pago, sin diferencias de calidad y sin riesgo financiero. Toma en consideración las necesidades diferenciadas e insatisfechas de todas las personas, y presta atención a las necesidades específicas de los grupos en situación de vulnerabilidad”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B747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39177E22-E4F9-4EF6-ABBF-FCF95F2623B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32031" b="62109" l="63104" r="89458">
                        <a14:foregroundMark x1="89458" y1="51953" x2="89458" y2="51953"/>
                      </a14:backgroundRemoval>
                    </a14:imgEffect>
                  </a14:imgLayer>
                </a14:imgProps>
              </a:ext>
            </a:extLst>
          </a:blip>
          <a:srcRect l="60031" t="28300" r="8605" b="34032"/>
          <a:stretch/>
        </p:blipFill>
        <p:spPr>
          <a:xfrm>
            <a:off x="3692184" y="1306521"/>
            <a:ext cx="4801840" cy="3242410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1A16B40D-BF55-4586-8184-B382F7C74487}"/>
              </a:ext>
            </a:extLst>
          </p:cNvPr>
          <p:cNvSpPr txBox="1"/>
          <p:nvPr/>
        </p:nvSpPr>
        <p:spPr>
          <a:xfrm>
            <a:off x="2907541" y="2405930"/>
            <a:ext cx="9957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vienda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5F3B8101-EA03-4FFC-93EE-F85A87E31455}"/>
              </a:ext>
            </a:extLst>
          </p:cNvPr>
          <p:cNvSpPr txBox="1"/>
          <p:nvPr/>
        </p:nvSpPr>
        <p:spPr>
          <a:xfrm>
            <a:off x="7441468" y="1675853"/>
            <a:ext cx="1137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ducació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B747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4AEE632F-73BC-4E0E-92C8-D24B7D004E25}"/>
              </a:ext>
            </a:extLst>
          </p:cNvPr>
          <p:cNvSpPr txBox="1"/>
          <p:nvPr/>
        </p:nvSpPr>
        <p:spPr>
          <a:xfrm>
            <a:off x="6365630" y="1262234"/>
            <a:ext cx="11938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port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B747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16936F8D-6064-4636-B12B-39DD4BE0155E}"/>
              </a:ext>
            </a:extLst>
          </p:cNvPr>
          <p:cNvSpPr txBox="1"/>
          <p:nvPr/>
        </p:nvSpPr>
        <p:spPr>
          <a:xfrm>
            <a:off x="4214730" y="1340496"/>
            <a:ext cx="12163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reació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B747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2DD636BA-81AD-4667-89DB-F3C501FEE996}"/>
              </a:ext>
            </a:extLst>
          </p:cNvPr>
          <p:cNvSpPr txBox="1"/>
          <p:nvPr/>
        </p:nvSpPr>
        <p:spPr>
          <a:xfrm>
            <a:off x="5199233" y="4197868"/>
            <a:ext cx="11240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guridad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B747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0D5A656E-9F1D-440D-B4B0-B9C446B7E812}"/>
              </a:ext>
            </a:extLst>
          </p:cNvPr>
          <p:cNvSpPr txBox="1"/>
          <p:nvPr/>
        </p:nvSpPr>
        <p:spPr>
          <a:xfrm>
            <a:off x="8494024" y="3133309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lud</a:t>
            </a: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8427D574-2E2E-41EF-8D00-37B8F6DDBB1E}"/>
              </a:ext>
            </a:extLst>
          </p:cNvPr>
          <p:cNvSpPr txBox="1"/>
          <p:nvPr/>
        </p:nvSpPr>
        <p:spPr>
          <a:xfrm>
            <a:off x="3219018" y="3410961"/>
            <a:ext cx="9957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vienda</a:t>
            </a:r>
          </a:p>
        </p:txBody>
      </p:sp>
    </p:spTree>
    <p:extLst>
      <p:ext uri="{BB962C8B-B14F-4D97-AF65-F5344CB8AC3E}">
        <p14:creationId xmlns:p14="http://schemas.microsoft.com/office/powerpoint/2010/main" val="33365549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51E3C40B-9377-4698-BF8D-BB353F936897}"/>
              </a:ext>
            </a:extLst>
          </p:cNvPr>
          <p:cNvSpPr txBox="1"/>
          <p:nvPr/>
        </p:nvSpPr>
        <p:spPr>
          <a:xfrm>
            <a:off x="2787097" y="3075057"/>
            <a:ext cx="661780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ro Black Caps" panose="02000000000000000000" pitchFamily="50" charset="0"/>
                <a:ea typeface="+mn-ea"/>
                <a:cs typeface="+mn-cs"/>
              </a:rPr>
              <a:t>NOMBRE CONFERENCIA</a:t>
            </a:r>
            <a:endParaRPr kumimoji="0" lang="es-CO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ro Black Caps" panose="02000000000000000000" pitchFamily="50" charset="0"/>
              <a:ea typeface="+mn-ea"/>
              <a:cs typeface="+mn-cs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A25FB256-B4EC-4AA0-B8F1-5CA3DEDA230C}"/>
              </a:ext>
            </a:extLst>
          </p:cNvPr>
          <p:cNvSpPr txBox="1"/>
          <p:nvPr/>
        </p:nvSpPr>
        <p:spPr>
          <a:xfrm>
            <a:off x="2980082" y="3987102"/>
            <a:ext cx="62318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NOMBRE CONFERENCISTA</a:t>
            </a:r>
            <a:endParaRPr kumimoji="0" lang="es-CO" sz="3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7AF61B02-A4E2-4D35-A0A6-3B30A0D8E5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27F45A8E-6A6E-40F2-A713-677F15724A8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616" t="10031" r="35104" b="7219"/>
          <a:stretch/>
        </p:blipFill>
        <p:spPr>
          <a:xfrm>
            <a:off x="1101498" y="562709"/>
            <a:ext cx="6231834" cy="5341319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16826CE3-E022-4ECF-B3E0-2817FE17D433}"/>
              </a:ext>
            </a:extLst>
          </p:cNvPr>
          <p:cNvSpPr txBox="1"/>
          <p:nvPr/>
        </p:nvSpPr>
        <p:spPr>
          <a:xfrm>
            <a:off x="1101498" y="5904028"/>
            <a:ext cx="619681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ns" panose="020B0604020202020204" pitchFamily="34" charset="0"/>
                <a:ea typeface="+mn-ea"/>
                <a:cs typeface="+mn-cs"/>
              </a:rPr>
              <a:t>Fuente: </a:t>
            </a:r>
            <a:r>
              <a:rPr kumimoji="0" lang="es-CO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ns" panose="020B0604020202020204" pitchFamily="34" charset="0"/>
                <a:ea typeface="+mn-ea"/>
                <a:cs typeface="+mn-cs"/>
              </a:rPr>
              <a:t>Stéphanie</a:t>
            </a:r>
            <a:r>
              <a:rPr kumimoji="0" lang="es-CO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ns" panose="020B0604020202020204" pitchFamily="34" charset="0"/>
                <a:ea typeface="+mn-ea"/>
                <a:cs typeface="+mn-cs"/>
              </a:rPr>
              <a:t> </a:t>
            </a:r>
            <a:r>
              <a:rPr kumimoji="0" lang="es-CO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ns" panose="020B0604020202020204" pitchFamily="34" charset="0"/>
                <a:ea typeface="+mn-ea"/>
                <a:cs typeface="+mn-cs"/>
              </a:rPr>
              <a:t>Chevalier</a:t>
            </a:r>
            <a:r>
              <a:rPr kumimoji="0" lang="es-CO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ns" panose="020B0604020202020204" pitchFamily="34" charset="0"/>
                <a:ea typeface="+mn-ea"/>
                <a:cs typeface="+mn-cs"/>
              </a:rPr>
              <a:t> Naranjo. Statista. Ene 2021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26002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749B540-50CA-440A-B7A9-E5CB8847F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013" y="3752849"/>
            <a:ext cx="3290887" cy="2452687"/>
          </a:xfrm>
        </p:spPr>
        <p:txBody>
          <a:bodyPr anchor="ctr">
            <a:normAutofit/>
          </a:bodyPr>
          <a:lstStyle/>
          <a:p>
            <a:r>
              <a:rPr lang="en-US" sz="3600" dirty="0"/>
              <a:t>16 </a:t>
            </a:r>
            <a:r>
              <a:rPr lang="en-US" sz="3600" dirty="0" err="1"/>
              <a:t>Diciembre</a:t>
            </a:r>
            <a:r>
              <a:rPr lang="en-US" sz="3600" dirty="0"/>
              <a:t> 2021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6947DA53-B53D-43D5-898F-39EB2957FC0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1690" b="24204"/>
          <a:stretch/>
        </p:blipFill>
        <p:spPr>
          <a:xfrm>
            <a:off x="20" y="10"/>
            <a:ext cx="12191980" cy="3710603"/>
          </a:xfrm>
          <a:custGeom>
            <a:avLst/>
            <a:gdLst/>
            <a:ahLst/>
            <a:cxnLst/>
            <a:rect l="l" t="t" r="r" b="b"/>
            <a:pathLst>
              <a:path w="12192000" h="3692092">
                <a:moveTo>
                  <a:pt x="0" y="0"/>
                </a:moveTo>
                <a:lnTo>
                  <a:pt x="12192000" y="0"/>
                </a:lnTo>
                <a:lnTo>
                  <a:pt x="12192000" y="3504824"/>
                </a:lnTo>
                <a:lnTo>
                  <a:pt x="12024691" y="3517794"/>
                </a:lnTo>
                <a:cubicBezTo>
                  <a:pt x="8077523" y="3783195"/>
                  <a:pt x="4094678" y="3026959"/>
                  <a:pt x="160485" y="3663863"/>
                </a:cubicBezTo>
                <a:lnTo>
                  <a:pt x="0" y="3692092"/>
                </a:lnTo>
                <a:close/>
              </a:path>
            </a:pathLst>
          </a:custGeom>
        </p:spPr>
      </p:pic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9642C55-204A-4D20-ADEB-5E61833215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23982" y="3752850"/>
            <a:ext cx="7485413" cy="2452687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s-CO" sz="1800" b="0" i="0" dirty="0">
                <a:effectLst/>
                <a:latin typeface="open sans" panose="020B0606030504020204" pitchFamily="34" charset="0"/>
              </a:rPr>
              <a:t>La Resolución va </a:t>
            </a:r>
            <a:r>
              <a:rPr lang="es-CO" sz="1800" b="1" i="0" dirty="0">
                <a:effectLst/>
                <a:latin typeface="open sans" panose="020B0606030504020204" pitchFamily="34" charset="0"/>
              </a:rPr>
              <a:t>más allá de la salud</a:t>
            </a:r>
            <a:r>
              <a:rPr lang="es-CO" sz="1800" b="0" i="0" dirty="0">
                <a:effectLst/>
                <a:latin typeface="open sans" panose="020B0606030504020204" pitchFamily="34" charset="0"/>
              </a:rPr>
              <a:t>. Afirma que abordar las necesidades de las personas con enfermedades raras es esencial para </a:t>
            </a:r>
            <a:r>
              <a:rPr lang="es-CO" sz="1800" b="1" i="0" dirty="0">
                <a:effectLst/>
                <a:latin typeface="open sans" panose="020B0606030504020204" pitchFamily="34" charset="0"/>
              </a:rPr>
              <a:t>avanzar en la Agenda 2030 </a:t>
            </a:r>
            <a:r>
              <a:rPr lang="es-CO" sz="1800" b="0" i="0" dirty="0">
                <a:effectLst/>
                <a:latin typeface="open sans" panose="020B0606030504020204" pitchFamily="34" charset="0"/>
              </a:rPr>
              <a:t>para el Desarrollo Sostenible, que incluye el </a:t>
            </a:r>
            <a:r>
              <a:rPr lang="es-CO" sz="1800" b="1" i="0" dirty="0">
                <a:effectLst/>
                <a:latin typeface="open sans" panose="020B0606030504020204" pitchFamily="34" charset="0"/>
              </a:rPr>
              <a:t>acceso a la educación y al trabajo decente, la reducción de la pobreza, la lucha contra la desigualdad de género y el apoyo a la inclusión de las personas que viven con una enfermedad rara en la sociedad</a:t>
            </a:r>
            <a:r>
              <a:rPr lang="es-CO" sz="1800" b="0" i="0" dirty="0">
                <a:effectLst/>
                <a:latin typeface="open sans" panose="020B0606030504020204" pitchFamily="34" charset="0"/>
              </a:rPr>
              <a:t>.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6088232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4E8B3C04-8389-4D01-A24B-8E41B66D609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750" t="30591" r="10737" b="19110"/>
          <a:stretch/>
        </p:blipFill>
        <p:spPr>
          <a:xfrm>
            <a:off x="838200" y="2233483"/>
            <a:ext cx="10807580" cy="4422098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B61BAD2F-D723-4810-921E-2D8F0EC92E5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875" t="9911" r="8771" b="50000"/>
          <a:stretch/>
        </p:blipFill>
        <p:spPr>
          <a:xfrm>
            <a:off x="1215288" y="36409"/>
            <a:ext cx="10284502" cy="2197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0845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F1.YblTqmdHAPWtR_p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anofi Genzyme PowerPoint Corporate Template">
  <a:themeElements>
    <a:clrScheme name="Sanofi">
      <a:dk1>
        <a:srgbClr val="6B747B"/>
      </a:dk1>
      <a:lt1>
        <a:srgbClr val="FFFFFF"/>
      </a:lt1>
      <a:dk2>
        <a:srgbClr val="525CA3"/>
      </a:dk2>
      <a:lt2>
        <a:srgbClr val="BCBC1C"/>
      </a:lt2>
      <a:accent1>
        <a:srgbClr val="3E90D0"/>
      </a:accent1>
      <a:accent2>
        <a:srgbClr val="D16C19"/>
      </a:accent2>
      <a:accent3>
        <a:srgbClr val="8F6EAA"/>
      </a:accent3>
      <a:accent4>
        <a:srgbClr val="FBBA00"/>
      </a:accent4>
      <a:accent5>
        <a:srgbClr val="BE006B"/>
      </a:accent5>
      <a:accent6>
        <a:srgbClr val="CAAE7A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D829FF25-08E2-2444-9D87-C51E4489EF53}" vid="{7CEA1CEF-2144-6C4D-A7C2-C9E418BC6C08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F6DFAB1349296344B8D1F4102CE60626" ma:contentTypeVersion="10" ma:contentTypeDescription="Crear nuevo documento." ma:contentTypeScope="" ma:versionID="f2070f3b95f7aba46b23976f41567508">
  <xsd:schema xmlns:xsd="http://www.w3.org/2001/XMLSchema" xmlns:xs="http://www.w3.org/2001/XMLSchema" xmlns:p="http://schemas.microsoft.com/office/2006/metadata/properties" xmlns:ns2="7c6a0d74-b595-4555-b472-a516b634811f" xmlns:ns3="05720d69-e608-44d3-86b9-dcacaabdf747" targetNamespace="http://schemas.microsoft.com/office/2006/metadata/properties" ma:root="true" ma:fieldsID="0690b0363a97517ca1d1049d41dd102b" ns2:_="" ns3:_="">
    <xsd:import namespace="7c6a0d74-b595-4555-b472-a516b634811f"/>
    <xsd:import namespace="05720d69-e608-44d3-86b9-dcacaabdf747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6a0d74-b595-4555-b472-a516b634811f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Etiquetas de imagen" ma:readOnly="false" ma:fieldId="{5cf76f15-5ced-4ddc-b409-7134ff3c332f}" ma:taxonomyMulti="true" ma:sspId="4fb0b088-da3c-47ed-872c-fc1360427ae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720d69-e608-44d3-86b9-dcacaabdf747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efcb0009-c298-480a-80d4-09d4dee29d6c}" ma:internalName="TaxCatchAll" ma:showField="CatchAllData" ma:web="05720d69-e608-44d3-86b9-dcacaabdf74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5720d69-e608-44d3-86b9-dcacaabdf747" xsi:nil="true"/>
    <lcf76f155ced4ddcb4097134ff3c332f xmlns="7c6a0d74-b595-4555-b472-a516b634811f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766B9152-4229-4A3D-ADAB-2745BDDA1574}"/>
</file>

<file path=customXml/itemProps2.xml><?xml version="1.0" encoding="utf-8"?>
<ds:datastoreItem xmlns:ds="http://schemas.openxmlformats.org/officeDocument/2006/customXml" ds:itemID="{58B85470-78D3-4F2A-B285-40CED7BBDD19}"/>
</file>

<file path=customXml/itemProps3.xml><?xml version="1.0" encoding="utf-8"?>
<ds:datastoreItem xmlns:ds="http://schemas.openxmlformats.org/officeDocument/2006/customXml" ds:itemID="{E014ABD4-01ED-4750-A175-ECF4080048C7}"/>
</file>

<file path=docProps/app.xml><?xml version="1.0" encoding="utf-8"?>
<Properties xmlns="http://schemas.openxmlformats.org/officeDocument/2006/extended-properties" xmlns:vt="http://schemas.openxmlformats.org/officeDocument/2006/docPropsVTypes">
  <TotalTime>5</TotalTime>
  <Words>840</Words>
  <Application>Microsoft Office PowerPoint</Application>
  <PresentationFormat>Panorámica</PresentationFormat>
  <Paragraphs>118</Paragraphs>
  <Slides>11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11</vt:i4>
      </vt:variant>
    </vt:vector>
  </HeadingPairs>
  <TitlesOfParts>
    <vt:vector size="21" baseType="lpstr">
      <vt:lpstr>Arial</vt:lpstr>
      <vt:lpstr>Intro Black Caps</vt:lpstr>
      <vt:lpstr>Montserrat</vt:lpstr>
      <vt:lpstr>open sans</vt:lpstr>
      <vt:lpstr>open sans</vt:lpstr>
      <vt:lpstr>Source Sans Pro</vt:lpstr>
      <vt:lpstr>Wingdings</vt:lpstr>
      <vt:lpstr>Sanofi Genzyme PowerPoint Corporate Template</vt:lpstr>
      <vt:lpstr>think-cell Slid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16 Diciembre 2021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Pedraza, Francisco Nicolay /CO</dc:creator>
  <cp:lastModifiedBy>Pedraza, Francisco Nicolay /CO</cp:lastModifiedBy>
  <cp:revision>1</cp:revision>
  <dcterms:created xsi:type="dcterms:W3CDTF">2022-06-03T17:09:49Z</dcterms:created>
  <dcterms:modified xsi:type="dcterms:W3CDTF">2022-06-03T17:14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6DFAB1349296344B8D1F4102CE60626</vt:lpwstr>
  </property>
</Properties>
</file>